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3" ContentType="audio/mpeg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omments/modernComment_7FFFD53B_4F3C144A.xml" ContentType="application/vnd.ms-powerpoint.comment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omments/modernComment_7FFFD53C_2D813B5E.xml" ContentType="application/vnd.ms-powerpoint.comment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4.xml" ContentType="application/vnd.openxmlformats-officedocument.presentationml.notesSlide+xml"/>
  <Override PartName="/ppt/comments/modernComment_7FFFD53F_D60E91.xml" ContentType="application/vnd.ms-powerpoint.comment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omments/modernComment_7FFFD541_BA458092.xml" ContentType="application/vnd.ms-powerpoint.comment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7.xml" ContentType="application/vnd.openxmlformats-officedocument.presentationml.notesSlide+xml"/>
  <Override PartName="/ppt/comments/modernComment_7FFFD542_50A9AB58.xml" ContentType="application/vnd.ms-powerpoint.comment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omments/modernComment_7FFFD547_4BC3F054.xml" ContentType="application/vnd.ms-powerpoint.comment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notesSlides/notesSlide10.xml" ContentType="application/vnd.openxmlformats-officedocument.presentationml.notesSlide+xml"/>
  <Override PartName="/ppt/comments/modernComment_7FFFD548_E8F489A4.xml" ContentType="application/vnd.ms-powerpoint.comment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omments/modernComment_7FFFD54D_BB465DAD.xml" ContentType="application/vnd.ms-powerpoint.comments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notesSlides/notesSlide13.xml" ContentType="application/vnd.openxmlformats-officedocument.presentationml.notesSlide+xml"/>
  <Override PartName="/ppt/comments/modernComment_7FFFD54E_B51F1D4.xml" ContentType="application/vnd.ms-powerpoint.comments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omments/modernComment_7FFFD550_267B6818.xml" ContentType="application/vnd.ms-powerpoint.comments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notesSlides/notesSlide16.xml" ContentType="application/vnd.openxmlformats-officedocument.presentationml.notesSlide+xml"/>
  <Override PartName="/ppt/comments/modernComment_7FFFD551_BF47353A.xml" ContentType="application/vnd.ms-powerpoint.comments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charts/chart37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charts/chart38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comments/modernComment_7FFFD553_4B71FE3C.xml" ContentType="application/vnd.ms-powerpoint.comments+xml"/>
  <Override PartName="/ppt/charts/chart39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charts/chart40.xml" ContentType="application/vnd.openxmlformats-officedocument.drawingml.chart+xml"/>
  <Override PartName="/ppt/charts/style40.xml" ContentType="application/vnd.ms-office.chartstyle+xml"/>
  <Override PartName="/ppt/charts/colors40.xml" ContentType="application/vnd.ms-office.chartcolorstyle+xml"/>
  <Override PartName="/ppt/charts/chart41.xml" ContentType="application/vnd.openxmlformats-officedocument.drawingml.chart+xml"/>
  <Override PartName="/ppt/charts/style41.xml" ContentType="application/vnd.ms-office.chartstyle+xml"/>
  <Override PartName="/ppt/charts/colors41.xml" ContentType="application/vnd.ms-office.chartcolorstyle+xml"/>
  <Override PartName="/ppt/charts/chart42.xml" ContentType="application/vnd.openxmlformats-officedocument.drawingml.chart+xml"/>
  <Override PartName="/ppt/charts/style42.xml" ContentType="application/vnd.ms-office.chartstyle+xml"/>
  <Override PartName="/ppt/charts/colors42.xml" ContentType="application/vnd.ms-office.chartcolorstyle+xml"/>
  <Override PartName="/ppt/notesSlides/notesSlide19.xml" ContentType="application/vnd.openxmlformats-officedocument.presentationml.notesSlide+xml"/>
  <Override PartName="/ppt/comments/modernComment_7FFFD554_61E5FEBE.xml" ContentType="application/vnd.ms-powerpoint.comments+xml"/>
  <Override PartName="/ppt/charts/chart43.xml" ContentType="application/vnd.openxmlformats-officedocument.drawingml.chart+xml"/>
  <Override PartName="/ppt/charts/style43.xml" ContentType="application/vnd.ms-office.chartstyle+xml"/>
  <Override PartName="/ppt/charts/colors43.xml" ContentType="application/vnd.ms-office.chartcolorstyle+xml"/>
  <Override PartName="/ppt/charts/chart44.xml" ContentType="application/vnd.openxmlformats-officedocument.drawingml.chart+xml"/>
  <Override PartName="/ppt/charts/style44.xml" ContentType="application/vnd.ms-office.chartstyle+xml"/>
  <Override PartName="/ppt/charts/colors44.xml" ContentType="application/vnd.ms-office.chartcolorstyle+xml"/>
  <Override PartName="/ppt/charts/chart45.xml" ContentType="application/vnd.openxmlformats-officedocument.drawingml.chart+xml"/>
  <Override PartName="/ppt/charts/style45.xml" ContentType="application/vnd.ms-office.chartstyle+xml"/>
  <Override PartName="/ppt/charts/colors45.xml" ContentType="application/vnd.ms-office.chartcolorstyl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comments/modernComment_7FFFD556_2E00DD36.xml" ContentType="application/vnd.ms-powerpoint.comments+xml"/>
  <Override PartName="/ppt/charts/chart46.xml" ContentType="application/vnd.openxmlformats-officedocument.drawingml.chart+xml"/>
  <Override PartName="/ppt/charts/style46.xml" ContentType="application/vnd.ms-office.chartstyle+xml"/>
  <Override PartName="/ppt/charts/colors46.xml" ContentType="application/vnd.ms-office.chartcolorstyle+xml"/>
  <Override PartName="/ppt/charts/chart47.xml" ContentType="application/vnd.openxmlformats-officedocument.drawingml.chart+xml"/>
  <Override PartName="/ppt/charts/style47.xml" ContentType="application/vnd.ms-office.chartstyle+xml"/>
  <Override PartName="/ppt/charts/colors47.xml" ContentType="application/vnd.ms-office.chartcolorstyle+xml"/>
  <Override PartName="/ppt/charts/chart48.xml" ContentType="application/vnd.openxmlformats-officedocument.drawingml.chart+xml"/>
  <Override PartName="/ppt/charts/style48.xml" ContentType="application/vnd.ms-office.chartstyle+xml"/>
  <Override PartName="/ppt/charts/colors48.xml" ContentType="application/vnd.ms-office.chartcolorstyle+xml"/>
  <Override PartName="/ppt/charts/chart49.xml" ContentType="application/vnd.openxmlformats-officedocument.drawingml.chart+xml"/>
  <Override PartName="/ppt/charts/style49.xml" ContentType="application/vnd.ms-office.chartstyle+xml"/>
  <Override PartName="/ppt/charts/colors49.xml" ContentType="application/vnd.ms-office.chartcolorstyle+xml"/>
  <Override PartName="/ppt/notesSlides/notesSlide22.xml" ContentType="application/vnd.openxmlformats-officedocument.presentationml.notesSlide+xml"/>
  <Override PartName="/ppt/comments/modernComment_7FFFD557_974BD9A7.xml" ContentType="application/vnd.ms-powerpoint.comments+xml"/>
  <Override PartName="/ppt/charts/chart50.xml" ContentType="application/vnd.openxmlformats-officedocument.drawingml.chart+xml"/>
  <Override PartName="/ppt/charts/style50.xml" ContentType="application/vnd.ms-office.chartstyle+xml"/>
  <Override PartName="/ppt/charts/colors50.xml" ContentType="application/vnd.ms-office.chartcolorstyle+xml"/>
  <Override PartName="/ppt/charts/chart51.xml" ContentType="application/vnd.openxmlformats-officedocument.drawingml.chart+xml"/>
  <Override PartName="/ppt/charts/style51.xml" ContentType="application/vnd.ms-office.chartstyle+xml"/>
  <Override PartName="/ppt/charts/colors51.xml" ContentType="application/vnd.ms-office.chartcolorstyle+xml"/>
  <Override PartName="/ppt/charts/chart52.xml" ContentType="application/vnd.openxmlformats-officedocument.drawingml.chart+xml"/>
  <Override PartName="/ppt/charts/style52.xml" ContentType="application/vnd.ms-office.chartstyle+xml"/>
  <Override PartName="/ppt/charts/colors52.xml" ContentType="application/vnd.ms-office.chartcolorstyle+xml"/>
  <Override PartName="/ppt/notesSlides/notesSlide23.xml" ContentType="application/vnd.openxmlformats-officedocument.presentationml.notesSlide+xml"/>
  <Override PartName="/ppt/comments/modernComment_7FFFD54A_11BE02E0.xml" ContentType="application/vnd.ms-powerpoint.comments+xml"/>
  <Override PartName="/ppt/charts/chart53.xml" ContentType="application/vnd.openxmlformats-officedocument.drawingml.chart+xml"/>
  <Override PartName="/ppt/charts/style53.xml" ContentType="application/vnd.ms-office.chartstyle+xml"/>
  <Override PartName="/ppt/charts/colors53.xml" ContentType="application/vnd.ms-office.chartcolorstyle+xml"/>
  <Override PartName="/ppt/charts/chart54.xml" ContentType="application/vnd.openxmlformats-officedocument.drawingml.chart+xml"/>
  <Override PartName="/ppt/charts/style54.xml" ContentType="application/vnd.ms-office.chartstyle+xml"/>
  <Override PartName="/ppt/charts/colors54.xml" ContentType="application/vnd.ms-office.chartcolorstyle+xml"/>
  <Override PartName="/ppt/charts/chart55.xml" ContentType="application/vnd.openxmlformats-officedocument.drawingml.chart+xml"/>
  <Override PartName="/ppt/charts/style55.xml" ContentType="application/vnd.ms-office.chartstyle+xml"/>
  <Override PartName="/ppt/charts/colors55.xml" ContentType="application/vnd.ms-office.chartcolorstyle+xml"/>
  <Override PartName="/ppt/charts/chart56.xml" ContentType="application/vnd.openxmlformats-officedocument.drawingml.chart+xml"/>
  <Override PartName="/ppt/charts/style56.xml" ContentType="application/vnd.ms-office.chartstyle+xml"/>
  <Override PartName="/ppt/charts/colors56.xml" ContentType="application/vnd.ms-office.chartcolorstyle+xml"/>
  <Override PartName="/ppt/notesSlides/notesSlide24.xml" ContentType="application/vnd.openxmlformats-officedocument.presentationml.notesSlide+xml"/>
  <Override PartName="/ppt/comments/modernComment_7FFFD54B_CCD2D60A.xml" ContentType="application/vnd.ms-powerpoint.comments+xml"/>
  <Override PartName="/ppt/charts/chart57.xml" ContentType="application/vnd.openxmlformats-officedocument.drawingml.chart+xml"/>
  <Override PartName="/ppt/charts/style57.xml" ContentType="application/vnd.ms-office.chartstyle+xml"/>
  <Override PartName="/ppt/charts/colors57.xml" ContentType="application/vnd.ms-office.chartcolorstyle+xml"/>
  <Override PartName="/ppt/charts/chart58.xml" ContentType="application/vnd.openxmlformats-officedocument.drawingml.chart+xml"/>
  <Override PartName="/ppt/charts/style58.xml" ContentType="application/vnd.ms-office.chartstyle+xml"/>
  <Override PartName="/ppt/charts/colors58.xml" ContentType="application/vnd.ms-office.chartcolorstyle+xml"/>
  <Override PartName="/ppt/charts/chart59.xml" ContentType="application/vnd.openxmlformats-officedocument.drawingml.chart+xml"/>
  <Override PartName="/ppt/charts/style59.xml" ContentType="application/vnd.ms-office.chartstyle+xml"/>
  <Override PartName="/ppt/charts/colors59.xml" ContentType="application/vnd.ms-office.chartcolorstyle+xml"/>
  <Override PartName="/ppt/notesSlides/notesSlide2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1" r:id="rId2"/>
  </p:sldMasterIdLst>
  <p:notesMasterIdLst>
    <p:notesMasterId r:id="rId28"/>
  </p:notesMasterIdLst>
  <p:sldIdLst>
    <p:sldId id="278" r:id="rId3"/>
    <p:sldId id="2147472699" r:id="rId4"/>
    <p:sldId id="2147472700" r:id="rId5"/>
    <p:sldId id="2147472703" r:id="rId6"/>
    <p:sldId id="2147472704" r:id="rId7"/>
    <p:sldId id="2147472705" r:id="rId8"/>
    <p:sldId id="2147472706" r:id="rId9"/>
    <p:sldId id="2147472707" r:id="rId10"/>
    <p:sldId id="2147472711" r:id="rId11"/>
    <p:sldId id="2147472712" r:id="rId12"/>
    <p:sldId id="2147472713" r:id="rId13"/>
    <p:sldId id="2147472717" r:id="rId14"/>
    <p:sldId id="2147472718" r:id="rId15"/>
    <p:sldId id="2147472719" r:id="rId16"/>
    <p:sldId id="2147472720" r:id="rId17"/>
    <p:sldId id="2147472721" r:id="rId18"/>
    <p:sldId id="2147472722" r:id="rId19"/>
    <p:sldId id="2147472723" r:id="rId20"/>
    <p:sldId id="2147472724" r:id="rId21"/>
    <p:sldId id="2147472725" r:id="rId22"/>
    <p:sldId id="2147472726" r:id="rId23"/>
    <p:sldId id="2147472727" r:id="rId24"/>
    <p:sldId id="2147472714" r:id="rId25"/>
    <p:sldId id="2147472715" r:id="rId26"/>
    <p:sldId id="268" r:id="rId27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9E4DA30-93A8-11AF-9121-96145B37829D}" name="Jesus Vallejo" initials="JV" userId="S::jesus.vallejo@bayer.com::d8760cf5-22c6-422a-823f-7f84482f310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B5CC1"/>
    <a:srgbClr val="8E3CCF"/>
    <a:srgbClr val="A04C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Estilo medio 4 - Énfasi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ED083AE6-46FA-4A59-8FB0-9F97EB10719F}" styleName="Estilo claro 3 - Acento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D27102A9-8310-4765-A935-A1911B00CA55}" styleName="Estilo claro 1 - Acento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E171933-4619-4E11-9A3F-F7608DF75F80}" styleName="Estilo medio 1 - Énfasi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17292A2E-F333-43FB-9621-5CBBE7FDCDCB}" styleName="Estilo claro 2 - Acento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4868" autoAdjust="0"/>
    <p:restoredTop sz="95687"/>
  </p:normalViewPr>
  <p:slideViewPr>
    <p:cSldViewPr snapToGrid="0">
      <p:cViewPr>
        <p:scale>
          <a:sx n="111" d="100"/>
          <a:sy n="111" d="100"/>
        </p:scale>
        <p:origin x="-3504" y="2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microsoft.com/office/2018/10/relationships/authors" Target="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viewProps" Target="viewProps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1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2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3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4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7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8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9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0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1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2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3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5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7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8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9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0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1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2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4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6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7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8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9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0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1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3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6.xlsx"/><Relationship Id="rId2" Type="http://schemas.microsoft.com/office/2011/relationships/chartColorStyle" Target="colors37.xml"/><Relationship Id="rId1" Type="http://schemas.microsoft.com/office/2011/relationships/chartStyle" Target="style37.xm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7.xlsx"/><Relationship Id="rId2" Type="http://schemas.microsoft.com/office/2011/relationships/chartColorStyle" Target="colors38.xml"/><Relationship Id="rId1" Type="http://schemas.microsoft.com/office/2011/relationships/chartStyle" Target="style38.xm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8.xlsx"/><Relationship Id="rId2" Type="http://schemas.microsoft.com/office/2011/relationships/chartColorStyle" Target="colors39.xml"/><Relationship Id="rId1" Type="http://schemas.microsoft.com/office/2011/relationships/chartStyle" Target="style39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9.xlsx"/><Relationship Id="rId2" Type="http://schemas.microsoft.com/office/2011/relationships/chartColorStyle" Target="colors40.xml"/><Relationship Id="rId1" Type="http://schemas.microsoft.com/office/2011/relationships/chartStyle" Target="style40.xml"/></Relationships>
</file>

<file path=ppt/charts/_rels/chart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50.xlsx"/><Relationship Id="rId2" Type="http://schemas.microsoft.com/office/2011/relationships/chartColorStyle" Target="colors41.xml"/><Relationship Id="rId1" Type="http://schemas.microsoft.com/office/2011/relationships/chartStyle" Target="style41.xml"/></Relationships>
</file>

<file path=ppt/charts/_rels/chart4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52.xlsx"/><Relationship Id="rId2" Type="http://schemas.microsoft.com/office/2011/relationships/chartColorStyle" Target="colors42.xml"/><Relationship Id="rId1" Type="http://schemas.microsoft.com/office/2011/relationships/chartStyle" Target="style42.xml"/></Relationships>
</file>

<file path=ppt/charts/_rels/chart4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54.xlsx"/><Relationship Id="rId2" Type="http://schemas.microsoft.com/office/2011/relationships/chartColorStyle" Target="colors43.xml"/><Relationship Id="rId1" Type="http://schemas.microsoft.com/office/2011/relationships/chartStyle" Target="style43.xml"/></Relationships>
</file>

<file path=ppt/charts/_rels/chart4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55.xlsx"/><Relationship Id="rId2" Type="http://schemas.microsoft.com/office/2011/relationships/chartColorStyle" Target="colors44.xml"/><Relationship Id="rId1" Type="http://schemas.microsoft.com/office/2011/relationships/chartStyle" Target="style44.xml"/></Relationships>
</file>

<file path=ppt/charts/_rels/chart4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56.xlsx"/><Relationship Id="rId2" Type="http://schemas.microsoft.com/office/2011/relationships/chartColorStyle" Target="colors45.xml"/><Relationship Id="rId1" Type="http://schemas.microsoft.com/office/2011/relationships/chartStyle" Target="style45.xml"/></Relationships>
</file>

<file path=ppt/charts/_rels/chart4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57.xlsx"/><Relationship Id="rId2" Type="http://schemas.microsoft.com/office/2011/relationships/chartColorStyle" Target="colors46.xml"/><Relationship Id="rId1" Type="http://schemas.microsoft.com/office/2011/relationships/chartStyle" Target="style46.xml"/></Relationships>
</file>

<file path=ppt/charts/_rels/chart4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58.xlsx"/><Relationship Id="rId2" Type="http://schemas.microsoft.com/office/2011/relationships/chartColorStyle" Target="colors47.xml"/><Relationship Id="rId1" Type="http://schemas.microsoft.com/office/2011/relationships/chartStyle" Target="style47.xml"/></Relationships>
</file>

<file path=ppt/charts/_rels/chart4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59.xlsx"/><Relationship Id="rId2" Type="http://schemas.microsoft.com/office/2011/relationships/chartColorStyle" Target="colors48.xml"/><Relationship Id="rId1" Type="http://schemas.microsoft.com/office/2011/relationships/chartStyle" Target="style48.xml"/></Relationships>
</file>

<file path=ppt/charts/_rels/chart4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61.xlsx"/><Relationship Id="rId2" Type="http://schemas.microsoft.com/office/2011/relationships/chartColorStyle" Target="colors49.xml"/><Relationship Id="rId1" Type="http://schemas.microsoft.com/office/2011/relationships/chartStyle" Target="style49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5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63.xlsx"/><Relationship Id="rId2" Type="http://schemas.microsoft.com/office/2011/relationships/chartColorStyle" Target="colors50.xml"/><Relationship Id="rId1" Type="http://schemas.microsoft.com/office/2011/relationships/chartStyle" Target="style50.xml"/></Relationships>
</file>

<file path=ppt/charts/_rels/chart5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64.xlsx"/><Relationship Id="rId2" Type="http://schemas.microsoft.com/office/2011/relationships/chartColorStyle" Target="colors51.xml"/><Relationship Id="rId1" Type="http://schemas.microsoft.com/office/2011/relationships/chartStyle" Target="style51.xml"/></Relationships>
</file>

<file path=ppt/charts/_rels/chart5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65.xlsx"/><Relationship Id="rId2" Type="http://schemas.microsoft.com/office/2011/relationships/chartColorStyle" Target="colors52.xml"/><Relationship Id="rId1" Type="http://schemas.microsoft.com/office/2011/relationships/chartStyle" Target="style52.xml"/></Relationships>
</file>

<file path=ppt/charts/_rels/chart5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66.xlsx"/><Relationship Id="rId2" Type="http://schemas.microsoft.com/office/2011/relationships/chartColorStyle" Target="colors53.xml"/><Relationship Id="rId1" Type="http://schemas.microsoft.com/office/2011/relationships/chartStyle" Target="style53.xml"/></Relationships>
</file>

<file path=ppt/charts/_rels/chart5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67.xlsx"/><Relationship Id="rId2" Type="http://schemas.microsoft.com/office/2011/relationships/chartColorStyle" Target="colors54.xml"/><Relationship Id="rId1" Type="http://schemas.microsoft.com/office/2011/relationships/chartStyle" Target="style54.xml"/></Relationships>
</file>

<file path=ppt/charts/_rels/chart5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70.xlsx"/><Relationship Id="rId2" Type="http://schemas.microsoft.com/office/2011/relationships/chartColorStyle" Target="colors55.xml"/><Relationship Id="rId1" Type="http://schemas.microsoft.com/office/2011/relationships/chartStyle" Target="style55.xml"/></Relationships>
</file>

<file path=ppt/charts/_rels/chart5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71.xlsx"/><Relationship Id="rId2" Type="http://schemas.microsoft.com/office/2011/relationships/chartColorStyle" Target="colors56.xml"/><Relationship Id="rId1" Type="http://schemas.microsoft.com/office/2011/relationships/chartStyle" Target="style56.xml"/></Relationships>
</file>

<file path=ppt/charts/_rels/chart5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72.xlsx"/><Relationship Id="rId2" Type="http://schemas.microsoft.com/office/2011/relationships/chartColorStyle" Target="colors57.xml"/><Relationship Id="rId1" Type="http://schemas.microsoft.com/office/2011/relationships/chartStyle" Target="style57.xml"/></Relationships>
</file>

<file path=ppt/charts/_rels/chart5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73.xlsx"/><Relationship Id="rId2" Type="http://schemas.microsoft.com/office/2011/relationships/chartColorStyle" Target="colors58.xml"/><Relationship Id="rId1" Type="http://schemas.microsoft.com/office/2011/relationships/chartStyle" Target="style58.xml"/></Relationships>
</file>

<file path=ppt/charts/_rels/chart5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74.xlsx"/><Relationship Id="rId2" Type="http://schemas.microsoft.com/office/2011/relationships/chartColorStyle" Target="colors59.xml"/><Relationship Id="rId1" Type="http://schemas.microsoft.com/office/2011/relationships/chartStyle" Target="style59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9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10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844336375612394E-2"/>
          <c:y val="0.11423199511387656"/>
          <c:w val="0.97550246590908474"/>
          <c:h val="0.80913362706169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ne-jun'23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9</c:f>
              <c:strCache>
                <c:ptCount val="8"/>
                <c:pt idx="0">
                  <c:v>Analgésicos</c:v>
                </c:pt>
                <c:pt idx="1">
                  <c:v>Antigripales</c:v>
                </c:pt>
                <c:pt idx="2">
                  <c:v>Dermatológicos</c:v>
                </c:pt>
                <c:pt idx="3">
                  <c:v>Anticardíacos</c:v>
                </c:pt>
                <c:pt idx="4">
                  <c:v>Vitaminas</c:v>
                </c:pt>
                <c:pt idx="5">
                  <c:v>Antiácidos</c:v>
                </c:pt>
                <c:pt idx="6">
                  <c:v>Antidiarréicos</c:v>
                </c:pt>
                <c:pt idx="7">
                  <c:v>Antimicóticos</c:v>
                </c:pt>
              </c:strCache>
            </c:strRef>
          </c:cat>
          <c:val>
            <c:numRef>
              <c:f>Hoja1!$B$2:$B$9</c:f>
              <c:numCache>
                <c:formatCode>\$0,\K</c:formatCode>
                <c:ptCount val="8"/>
                <c:pt idx="0">
                  <c:v>4644670.0999999996</c:v>
                </c:pt>
                <c:pt idx="1">
                  <c:v>1873476</c:v>
                </c:pt>
                <c:pt idx="2">
                  <c:v>412472.8</c:v>
                </c:pt>
                <c:pt idx="3">
                  <c:v>544366.14</c:v>
                </c:pt>
                <c:pt idx="4">
                  <c:v>149327</c:v>
                </c:pt>
                <c:pt idx="5">
                  <c:v>284390.58</c:v>
                </c:pt>
                <c:pt idx="6">
                  <c:v>78234.34</c:v>
                </c:pt>
                <c:pt idx="7">
                  <c:v>355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1A-8F48-9F46-F07BDE8E25D4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ene-jun'24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highlight>
                      <a:srgbClr val="FFFF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9</c:f>
              <c:strCache>
                <c:ptCount val="8"/>
                <c:pt idx="0">
                  <c:v>Analgésicos</c:v>
                </c:pt>
                <c:pt idx="1">
                  <c:v>Antigripales</c:v>
                </c:pt>
                <c:pt idx="2">
                  <c:v>Dermatológicos</c:v>
                </c:pt>
                <c:pt idx="3">
                  <c:v>Anticardíacos</c:v>
                </c:pt>
                <c:pt idx="4">
                  <c:v>Vitaminas</c:v>
                </c:pt>
                <c:pt idx="5">
                  <c:v>Antiácidos</c:v>
                </c:pt>
                <c:pt idx="6">
                  <c:v>Antidiarréicos</c:v>
                </c:pt>
                <c:pt idx="7">
                  <c:v>Antimicóticos</c:v>
                </c:pt>
              </c:strCache>
            </c:strRef>
          </c:cat>
          <c:val>
            <c:numRef>
              <c:f>Hoja1!$C$2:$C$9</c:f>
              <c:numCache>
                <c:formatCode>\$0,\k</c:formatCode>
                <c:ptCount val="8"/>
                <c:pt idx="0">
                  <c:v>3862072</c:v>
                </c:pt>
                <c:pt idx="1">
                  <c:v>2805246</c:v>
                </c:pt>
                <c:pt idx="2">
                  <c:v>52031</c:v>
                </c:pt>
                <c:pt idx="3">
                  <c:v>421063</c:v>
                </c:pt>
                <c:pt idx="4">
                  <c:v>420013</c:v>
                </c:pt>
                <c:pt idx="5">
                  <c:v>611829</c:v>
                </c:pt>
                <c:pt idx="6">
                  <c:v>65242</c:v>
                </c:pt>
                <c:pt idx="7">
                  <c:v>5407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1A-8F48-9F46-F07BDE8E25D4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313212968"/>
        <c:axId val="313216496"/>
      </c:barChart>
      <c:catAx>
        <c:axId val="31321296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3216496"/>
        <c:crosses val="autoZero"/>
        <c:auto val="1"/>
        <c:lblAlgn val="ctr"/>
        <c:lblOffset val="100"/>
        <c:noMultiLvlLbl val="0"/>
      </c:catAx>
      <c:valAx>
        <c:axId val="313216496"/>
        <c:scaling>
          <c:orientation val="minMax"/>
        </c:scaling>
        <c:delete val="1"/>
        <c:axPos val="l"/>
        <c:numFmt formatCode="\$0,\K" sourceLinked="1"/>
        <c:majorTickMark val="none"/>
        <c:minorTickMark val="none"/>
        <c:tickLblPos val="nextTo"/>
        <c:crossAx val="3132129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3596439269646738"/>
          <c:y val="7.7064670048846762E-2"/>
          <c:w val="0.31296680794408921"/>
          <c:h val="7.159505526629227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badi" panose="020B0604020104020204" pitchFamily="34" charset="0"/>
        </a:defRPr>
      </a:pPr>
      <a:endParaRPr lang="es-HN"/>
    </a:p>
  </c:txPr>
  <c:externalData r:id="rId3">
    <c:autoUpdate val="0"/>
  </c:externalData>
  <c:userShapes r:id="rId4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MEDIA TV CHANNEL </a:t>
            </a:r>
            <a:r>
              <a:rPr lang="es-MX" sz="800" dirty="0"/>
              <a:t>(38,044</a:t>
            </a:r>
            <a:r>
              <a:rPr lang="es-MX" sz="800" baseline="0" dirty="0"/>
              <a:t> Grp’s)</a:t>
            </a:r>
            <a:endParaRPr lang="es-MX" sz="800" dirty="0"/>
          </a:p>
        </c:rich>
      </c:tx>
      <c:layout>
        <c:manualLayout>
          <c:xMode val="edge"/>
          <c:yMode val="edge"/>
          <c:x val="0.16761126692904599"/>
          <c:y val="3.5736495403498797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VC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blenaco</c:v>
                </c:pt>
                <c:pt idx="1">
                  <c:v>X Ray Dol</c:v>
                </c:pt>
                <c:pt idx="2">
                  <c:v>Dolo Neurobio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</c:v>
                </c:pt>
                <c:pt idx="6">
                  <c:v>Dorival</c:v>
                </c:pt>
                <c:pt idx="7">
                  <c:v>Delor Extra</c:v>
                </c:pt>
                <c:pt idx="8">
                  <c:v>Aleve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69</c:v>
                </c:pt>
                <c:pt idx="1">
                  <c:v>1</c:v>
                </c:pt>
                <c:pt idx="2">
                  <c:v>0.04</c:v>
                </c:pt>
                <c:pt idx="4">
                  <c:v>0.84</c:v>
                </c:pt>
                <c:pt idx="5">
                  <c:v>7.0000000000000007E-2</c:v>
                </c:pt>
                <c:pt idx="6">
                  <c:v>0.78</c:v>
                </c:pt>
                <c:pt idx="8">
                  <c:v>0.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6FC-AF40-A197-90AC20A19CE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C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blenaco</c:v>
                </c:pt>
                <c:pt idx="1">
                  <c:v>X Ray Dol</c:v>
                </c:pt>
                <c:pt idx="2">
                  <c:v>Dolo Neurobio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</c:v>
                </c:pt>
                <c:pt idx="6">
                  <c:v>Dorival</c:v>
                </c:pt>
                <c:pt idx="7">
                  <c:v>Delor Extra</c:v>
                </c:pt>
                <c:pt idx="8">
                  <c:v>Aleve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0.41</c:v>
                </c:pt>
                <c:pt idx="2">
                  <c:v>0.25</c:v>
                </c:pt>
                <c:pt idx="3">
                  <c:v>0.42</c:v>
                </c:pt>
                <c:pt idx="4">
                  <c:v>0.16</c:v>
                </c:pt>
                <c:pt idx="5">
                  <c:v>0.32</c:v>
                </c:pt>
                <c:pt idx="6">
                  <c:v>0.22</c:v>
                </c:pt>
                <c:pt idx="8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6FC-AF40-A197-90AC20A19CE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TV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blenaco</c:v>
                </c:pt>
                <c:pt idx="1">
                  <c:v>X Ray Dol</c:v>
                </c:pt>
                <c:pt idx="2">
                  <c:v>Dolo Neurobio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</c:v>
                </c:pt>
                <c:pt idx="6">
                  <c:v>Dorival</c:v>
                </c:pt>
                <c:pt idx="7">
                  <c:v>Delor Extra</c:v>
                </c:pt>
                <c:pt idx="8">
                  <c:v>Aleve</c:v>
                </c:pt>
              </c:strCache>
            </c:strRef>
          </c:cat>
          <c:val>
            <c:numRef>
              <c:f>Sheet1!$D$2:$D$10</c:f>
              <c:numCache>
                <c:formatCode>0%</c:formatCode>
                <c:ptCount val="9"/>
                <c:pt idx="2">
                  <c:v>0.27</c:v>
                </c:pt>
                <c:pt idx="3">
                  <c:v>0.56999999999999995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6FC-AF40-A197-90AC20A19CE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C1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blenaco</c:v>
                </c:pt>
                <c:pt idx="1">
                  <c:v>X Ray Dol</c:v>
                </c:pt>
                <c:pt idx="2">
                  <c:v>Dolo Neurobio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</c:v>
                </c:pt>
                <c:pt idx="6">
                  <c:v>Dorival</c:v>
                </c:pt>
                <c:pt idx="7">
                  <c:v>Delor Extra</c:v>
                </c:pt>
                <c:pt idx="8">
                  <c:v>Aleve</c:v>
                </c:pt>
              </c:strCache>
            </c:strRef>
          </c:cat>
          <c:val>
            <c:numRef>
              <c:f>Sheet1!$E$2:$E$10</c:f>
              <c:numCache>
                <c:formatCode>0%</c:formatCode>
                <c:ptCount val="9"/>
                <c:pt idx="2">
                  <c:v>0.43</c:v>
                </c:pt>
                <c:pt idx="5">
                  <c:v>0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6FC-AF40-A197-90AC20A19C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553045160125358"/>
          <c:y val="0.88281595142087743"/>
          <c:w val="0.54624400931888895"/>
          <c:h val="7.69076816581733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/>
              <a:t>MEDIA MIX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V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7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3A2-F442-9115-F90DD720CF8C}"/>
                </c:ext>
              </c:extLst>
            </c:dLbl>
            <c:dLbl>
              <c:idx val="1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3A2-F442-9115-F90DD720CF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Gripex Plus</c:v>
                </c:pt>
                <c:pt idx="1">
                  <c:v>Mentolina</c:v>
                </c:pt>
                <c:pt idx="2">
                  <c:v>Tosan</c:v>
                </c:pt>
                <c:pt idx="3">
                  <c:v>Dolofin Anti</c:v>
                </c:pt>
                <c:pt idx="4">
                  <c:v>Sudagrip</c:v>
                </c:pt>
                <c:pt idx="5">
                  <c:v>Pectofenil</c:v>
                </c:pt>
                <c:pt idx="6">
                  <c:v>Tabcin GyT</c:v>
                </c:pt>
                <c:pt idx="7">
                  <c:v>Delor Antig</c:v>
                </c:pt>
                <c:pt idx="8">
                  <c:v>Broncopulmin</c:v>
                </c:pt>
                <c:pt idx="9">
                  <c:v>Tabcin Niños</c:v>
                </c:pt>
                <c:pt idx="10">
                  <c:v>Vaporub</c:v>
                </c:pt>
                <c:pt idx="11">
                  <c:v>Tabcin FyC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7791404283801453</c:v>
                </c:pt>
                <c:pt idx="1">
                  <c:v>0.85243606334753363</c:v>
                </c:pt>
                <c:pt idx="2">
                  <c:v>0.41728122516450228</c:v>
                </c:pt>
                <c:pt idx="3">
                  <c:v>1</c:v>
                </c:pt>
                <c:pt idx="4">
                  <c:v>0.91657452348671942</c:v>
                </c:pt>
                <c:pt idx="5">
                  <c:v>0.2803680929479796</c:v>
                </c:pt>
                <c:pt idx="6">
                  <c:v>0.76158604482495573</c:v>
                </c:pt>
                <c:pt idx="7">
                  <c:v>1</c:v>
                </c:pt>
                <c:pt idx="8">
                  <c:v>0.66317907012571786</c:v>
                </c:pt>
                <c:pt idx="9">
                  <c:v>1</c:v>
                </c:pt>
                <c:pt idx="10">
                  <c:v>0.97240823673666377</c:v>
                </c:pt>
                <c:pt idx="11">
                  <c:v>0.953878700769787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A2-F442-9115-F90DD720CF8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T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Gripex Plus</c:v>
                </c:pt>
                <c:pt idx="1">
                  <c:v>Mentolina</c:v>
                </c:pt>
                <c:pt idx="2">
                  <c:v>Tosan</c:v>
                </c:pt>
                <c:pt idx="3">
                  <c:v>Dolofin Anti</c:v>
                </c:pt>
                <c:pt idx="4">
                  <c:v>Sudagrip</c:v>
                </c:pt>
                <c:pt idx="5">
                  <c:v>Pectofenil</c:v>
                </c:pt>
                <c:pt idx="6">
                  <c:v>Tabcin GyT</c:v>
                </c:pt>
                <c:pt idx="7">
                  <c:v>Delor Antig</c:v>
                </c:pt>
                <c:pt idx="8">
                  <c:v>Broncopulmin</c:v>
                </c:pt>
                <c:pt idx="9">
                  <c:v>Tabcin Niños</c:v>
                </c:pt>
                <c:pt idx="10">
                  <c:v>Vaporub</c:v>
                </c:pt>
                <c:pt idx="11">
                  <c:v>Tabcin FyC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10">
                  <c:v>2.759176326333625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3A2-F442-9115-F90DD720CF8C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AD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Gripex Plus</c:v>
                </c:pt>
                <c:pt idx="1">
                  <c:v>Mentolina</c:v>
                </c:pt>
                <c:pt idx="2">
                  <c:v>Tosan</c:v>
                </c:pt>
                <c:pt idx="3">
                  <c:v>Dolofin Anti</c:v>
                </c:pt>
                <c:pt idx="4">
                  <c:v>Sudagrip</c:v>
                </c:pt>
                <c:pt idx="5">
                  <c:v>Pectofenil</c:v>
                </c:pt>
                <c:pt idx="6">
                  <c:v>Tabcin GyT</c:v>
                </c:pt>
                <c:pt idx="7">
                  <c:v>Delor Antig</c:v>
                </c:pt>
                <c:pt idx="8">
                  <c:v>Broncopulmin</c:v>
                </c:pt>
                <c:pt idx="9">
                  <c:v>Tabcin Niños</c:v>
                </c:pt>
                <c:pt idx="10">
                  <c:v>Vaporub</c:v>
                </c:pt>
                <c:pt idx="11">
                  <c:v>Tabcin FyC</c:v>
                </c:pt>
              </c:strCache>
            </c:strRef>
          </c:cat>
          <c:val>
            <c:numRef>
              <c:f>Sheet1!$D$2:$D$13</c:f>
              <c:numCache>
                <c:formatCode>0%</c:formatCode>
                <c:ptCount val="12"/>
                <c:pt idx="0">
                  <c:v>0.19200647494888307</c:v>
                </c:pt>
                <c:pt idx="1">
                  <c:v>0.14756393665246637</c:v>
                </c:pt>
                <c:pt idx="2">
                  <c:v>0.57920285832177987</c:v>
                </c:pt>
                <c:pt idx="4">
                  <c:v>8.3425476513280555E-2</c:v>
                </c:pt>
                <c:pt idx="5">
                  <c:v>0.66806848711092293</c:v>
                </c:pt>
                <c:pt idx="6">
                  <c:v>0.23841395517504421</c:v>
                </c:pt>
                <c:pt idx="7">
                  <c:v>0</c:v>
                </c:pt>
                <c:pt idx="8">
                  <c:v>0.33682092987428219</c:v>
                </c:pt>
                <c:pt idx="11">
                  <c:v>4.612129923021226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3A2-F442-9115-F90DD720CF8C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E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3A2-F442-9115-F90DD720CF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Gripex Plus</c:v>
                </c:pt>
                <c:pt idx="1">
                  <c:v>Mentolina</c:v>
                </c:pt>
                <c:pt idx="2">
                  <c:v>Tosan</c:v>
                </c:pt>
                <c:pt idx="3">
                  <c:v>Dolofin Anti</c:v>
                </c:pt>
                <c:pt idx="4">
                  <c:v>Sudagrip</c:v>
                </c:pt>
                <c:pt idx="5">
                  <c:v>Pectofenil</c:v>
                </c:pt>
                <c:pt idx="6">
                  <c:v>Tabcin GyT</c:v>
                </c:pt>
                <c:pt idx="7">
                  <c:v>Delor Antig</c:v>
                </c:pt>
                <c:pt idx="8">
                  <c:v>Broncopulmin</c:v>
                </c:pt>
                <c:pt idx="9">
                  <c:v>Tabcin Niños</c:v>
                </c:pt>
                <c:pt idx="10">
                  <c:v>Vaporub</c:v>
                </c:pt>
                <c:pt idx="11">
                  <c:v>Tabcin FyC</c:v>
                </c:pt>
              </c:strCache>
            </c:strRef>
          </c:cat>
          <c:val>
            <c:numRef>
              <c:f>Sheet1!$E$2:$E$13</c:f>
              <c:numCache>
                <c:formatCode>0%</c:formatCode>
                <c:ptCount val="12"/>
                <c:pt idx="5">
                  <c:v>5.156341994109729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3A2-F442-9115-F90DD720CF8C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O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3A2-F442-9115-F90DD720CF8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Gripex Plus</c:v>
                </c:pt>
                <c:pt idx="1">
                  <c:v>Mentolina</c:v>
                </c:pt>
                <c:pt idx="2">
                  <c:v>Tosan</c:v>
                </c:pt>
                <c:pt idx="3">
                  <c:v>Dolofin Anti</c:v>
                </c:pt>
                <c:pt idx="4">
                  <c:v>Sudagrip</c:v>
                </c:pt>
                <c:pt idx="5">
                  <c:v>Pectofenil</c:v>
                </c:pt>
                <c:pt idx="6">
                  <c:v>Tabcin GyT</c:v>
                </c:pt>
                <c:pt idx="7">
                  <c:v>Delor Antig</c:v>
                </c:pt>
                <c:pt idx="8">
                  <c:v>Broncopulmin</c:v>
                </c:pt>
                <c:pt idx="9">
                  <c:v>Tabcin Niños</c:v>
                </c:pt>
                <c:pt idx="10">
                  <c:v>Vaporub</c:v>
                </c:pt>
                <c:pt idx="11">
                  <c:v>Tabcin FyC</c:v>
                </c:pt>
              </c:strCache>
            </c:strRef>
          </c:cat>
          <c:val>
            <c:numRef>
              <c:f>Sheet1!$F$2:$F$13</c:f>
              <c:numCache>
                <c:formatCode>0%</c:formatCode>
                <c:ptCount val="12"/>
                <c:pt idx="0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3A2-F442-9115-F90DD720C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768819103022359"/>
          <c:y val="0.86771490913316096"/>
          <c:w val="0.29323236917579004"/>
          <c:h val="7.07997525689959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dirty="0">
                <a:solidFill>
                  <a:schemeClr val="tx1"/>
                </a:solidFill>
              </a:rPr>
              <a:t>SOI-SOV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3.8989989460924718E-2"/>
          <c:y val="0.1386697829752874"/>
          <c:w val="0.9288227884557565"/>
          <c:h val="0.679576030319258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OI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2"/>
              <c:layout>
                <c:manualLayout>
                  <c:x val="-3.5690350871197423E-17"/>
                  <c:y val="8.719988135323229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4D0-497D-81BA-2AD4B7BE6749}"/>
                </c:ext>
              </c:extLst>
            </c:dLbl>
            <c:dLbl>
              <c:idx val="4"/>
              <c:layout>
                <c:manualLayout>
                  <c:x val="-9.7338445006845062E-3"/>
                  <c:y val="4.359994067661614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Mentolina</c:v>
                </c:pt>
                <c:pt idx="1">
                  <c:v>Dolofin</c:v>
                </c:pt>
                <c:pt idx="2">
                  <c:v>Gripex Plus</c:v>
                </c:pt>
                <c:pt idx="3">
                  <c:v>Sudagrip</c:v>
                </c:pt>
                <c:pt idx="4">
                  <c:v>Tosan</c:v>
                </c:pt>
                <c:pt idx="5">
                  <c:v>Tabcin GyT</c:v>
                </c:pt>
                <c:pt idx="6">
                  <c:v>Delor Antig</c:v>
                </c:pt>
                <c:pt idx="7">
                  <c:v>Tabcin Niños</c:v>
                </c:pt>
                <c:pt idx="8">
                  <c:v>Broncopulmin</c:v>
                </c:pt>
                <c:pt idx="9">
                  <c:v>Tabcin FyC</c:v>
                </c:pt>
              </c:strCache>
            </c:strRef>
          </c:cat>
          <c:val>
            <c:numRef>
              <c:f>Hoja1!$B$2:$B$11</c:f>
              <c:numCache>
                <c:formatCode>0%</c:formatCode>
                <c:ptCount val="10"/>
                <c:pt idx="0">
                  <c:v>0.18190733657213387</c:v>
                </c:pt>
                <c:pt idx="1">
                  <c:v>0.17939957026192077</c:v>
                </c:pt>
                <c:pt idx="2">
                  <c:v>0.17504621181114124</c:v>
                </c:pt>
                <c:pt idx="3">
                  <c:v>0.10451602317959909</c:v>
                </c:pt>
                <c:pt idx="4">
                  <c:v>8.4254562899973046E-2</c:v>
                </c:pt>
                <c:pt idx="5">
                  <c:v>5.772075556777221E-2</c:v>
                </c:pt>
                <c:pt idx="6">
                  <c:v>5.0267162868771503E-2</c:v>
                </c:pt>
                <c:pt idx="7">
                  <c:v>4.8011610757241412E-2</c:v>
                </c:pt>
                <c:pt idx="8">
                  <c:v>3.1919087448248382E-2</c:v>
                </c:pt>
                <c:pt idx="9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D0-497D-81BA-2AD4B7BE67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O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1.362738230095819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D0-497D-81BA-2AD4B7BE6749}"/>
                </c:ext>
              </c:extLst>
            </c:dLbl>
            <c:dLbl>
              <c:idx val="1"/>
              <c:layout>
                <c:manualLayout>
                  <c:x val="1.168061340082132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4D0-497D-81BA-2AD4B7BE6749}"/>
                </c:ext>
              </c:extLst>
            </c:dLbl>
            <c:dLbl>
              <c:idx val="2"/>
              <c:layout>
                <c:manualLayout>
                  <c:x val="1.3627382300958208E-2"/>
                  <c:y val="-4.359994067661694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4D0-497D-81BA-2AD4B7BE6749}"/>
                </c:ext>
              </c:extLst>
            </c:dLbl>
            <c:dLbl>
              <c:idx val="3"/>
              <c:layout>
                <c:manualLayout>
                  <c:x val="1.5574151201095024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Mentolina</c:v>
                </c:pt>
                <c:pt idx="1">
                  <c:v>Dolofin</c:v>
                </c:pt>
                <c:pt idx="2">
                  <c:v>Gripex Plus</c:v>
                </c:pt>
                <c:pt idx="3">
                  <c:v>Sudagrip</c:v>
                </c:pt>
                <c:pt idx="4">
                  <c:v>Tosan</c:v>
                </c:pt>
                <c:pt idx="5">
                  <c:v>Tabcin GyT</c:v>
                </c:pt>
                <c:pt idx="6">
                  <c:v>Delor Antig</c:v>
                </c:pt>
                <c:pt idx="7">
                  <c:v>Tabcin Niños</c:v>
                </c:pt>
                <c:pt idx="8">
                  <c:v>Broncopulmin</c:v>
                </c:pt>
                <c:pt idx="9">
                  <c:v>Tabcin FyC</c:v>
                </c:pt>
              </c:strCache>
            </c:strRef>
          </c:cat>
          <c:val>
            <c:numRef>
              <c:f>Hoja1!$C$2:$C$11</c:f>
              <c:numCache>
                <c:formatCode>0%</c:formatCode>
                <c:ptCount val="10"/>
                <c:pt idx="0">
                  <c:v>8.4655061144208885E-2</c:v>
                </c:pt>
                <c:pt idx="1">
                  <c:v>9.5878636335978804E-2</c:v>
                </c:pt>
                <c:pt idx="2">
                  <c:v>0.2621310978398903</c:v>
                </c:pt>
                <c:pt idx="3">
                  <c:v>0.17068663664931888</c:v>
                </c:pt>
                <c:pt idx="4">
                  <c:v>3.4994865750371619E-2</c:v>
                </c:pt>
                <c:pt idx="5">
                  <c:v>0.13069025465981107</c:v>
                </c:pt>
                <c:pt idx="6">
                  <c:v>2.2574408801971969E-2</c:v>
                </c:pt>
                <c:pt idx="7">
                  <c:v>8.0277620091057725E-2</c:v>
                </c:pt>
                <c:pt idx="8">
                  <c:v>3.885284968168095E-2</c:v>
                </c:pt>
                <c:pt idx="9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0521320"/>
        <c:axId val="350519752"/>
      </c:barChart>
      <c:lineChart>
        <c:grouping val="standard"/>
        <c:varyColors val="0"/>
        <c:ser>
          <c:idx val="2"/>
          <c:order val="2"/>
          <c:tx>
            <c:strRef>
              <c:f>Hoja1!$D$1</c:f>
              <c:strCache>
                <c:ptCount val="1"/>
                <c:pt idx="0">
                  <c:v>I.E.</c:v>
                </c:pt>
              </c:strCache>
            </c:strRef>
          </c:tx>
          <c:spPr>
            <a:ln w="34925" cap="rnd">
              <a:solidFill>
                <a:schemeClr val="accent6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6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1</c:f>
              <c:strCache>
                <c:ptCount val="10"/>
                <c:pt idx="0">
                  <c:v>Mentolina</c:v>
                </c:pt>
                <c:pt idx="1">
                  <c:v>Dolofin</c:v>
                </c:pt>
                <c:pt idx="2">
                  <c:v>Gripex Plus</c:v>
                </c:pt>
                <c:pt idx="3">
                  <c:v>Sudagrip</c:v>
                </c:pt>
                <c:pt idx="4">
                  <c:v>Tosan</c:v>
                </c:pt>
                <c:pt idx="5">
                  <c:v>Tabcin GyT</c:v>
                </c:pt>
                <c:pt idx="6">
                  <c:v>Delor Antig</c:v>
                </c:pt>
                <c:pt idx="7">
                  <c:v>Tabcin Niños</c:v>
                </c:pt>
                <c:pt idx="8">
                  <c:v>Broncopulmin</c:v>
                </c:pt>
                <c:pt idx="9">
                  <c:v>Tabcin FyC</c:v>
                </c:pt>
              </c:strCache>
            </c:strRef>
          </c:cat>
          <c:val>
            <c:numRef>
              <c:f>Hoja1!$D$2:$D$11</c:f>
              <c:numCache>
                <c:formatCode>0.00</c:formatCode>
                <c:ptCount val="10"/>
                <c:pt idx="0">
                  <c:v>0.46537463930510364</c:v>
                </c:pt>
                <c:pt idx="1">
                  <c:v>0.53444183949826296</c:v>
                </c:pt>
                <c:pt idx="2">
                  <c:v>1.4974965474985864</c:v>
                </c:pt>
                <c:pt idx="3">
                  <c:v>1.6331145355197165</c:v>
                </c:pt>
                <c:pt idx="4">
                  <c:v>0.41534683162403319</c:v>
                </c:pt>
                <c:pt idx="5">
                  <c:v>2.2641812875502385</c:v>
                </c:pt>
                <c:pt idx="6">
                  <c:v>0.44908858017121811</c:v>
                </c:pt>
                <c:pt idx="7">
                  <c:v>1.6720459660676923</c:v>
                </c:pt>
                <c:pt idx="8">
                  <c:v>1.2172293379212216</c:v>
                </c:pt>
                <c:pt idx="9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0516224"/>
        <c:axId val="350522496"/>
      </c:lineChart>
      <c:catAx>
        <c:axId val="350521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9752"/>
        <c:crosses val="autoZero"/>
        <c:auto val="1"/>
        <c:lblAlgn val="ctr"/>
        <c:lblOffset val="100"/>
        <c:noMultiLvlLbl val="0"/>
      </c:catAx>
      <c:valAx>
        <c:axId val="350519752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21320"/>
        <c:crosses val="autoZero"/>
        <c:crossBetween val="between"/>
      </c:valAx>
      <c:valAx>
        <c:axId val="350522496"/>
        <c:scaling>
          <c:orientation val="minMax"/>
          <c:min val="0"/>
        </c:scaling>
        <c:delete val="0"/>
        <c:axPos val="r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6224"/>
        <c:crosses val="max"/>
        <c:crossBetween val="between"/>
      </c:valAx>
      <c:catAx>
        <c:axId val="3505162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05224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b="1" dirty="0"/>
              <a:t>SEASONA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7.5695866818642696E-2"/>
          <c:y val="0.19662278534839772"/>
          <c:w val="0.92388468586498484"/>
          <c:h val="0.61547700177093057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Dolofin Antig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B$2:$B$13</c:f>
              <c:numCache>
                <c:formatCode>0,\k</c:formatCode>
                <c:ptCount val="12"/>
                <c:pt idx="0">
                  <c:v>70452</c:v>
                </c:pt>
                <c:pt idx="1">
                  <c:v>88276.661207138706</c:v>
                </c:pt>
                <c:pt idx="2">
                  <c:v>81274</c:v>
                </c:pt>
                <c:pt idx="3">
                  <c:v>76047.906258393923</c:v>
                </c:pt>
                <c:pt idx="4">
                  <c:v>695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AC-401A-B387-C3368003BCA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Gripex plu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C$2:$C$13</c:f>
              <c:numCache>
                <c:formatCode>0,\k</c:formatCode>
                <c:ptCount val="12"/>
                <c:pt idx="0">
                  <c:v>69716.929999999993</c:v>
                </c:pt>
                <c:pt idx="1">
                  <c:v>70396.973680278606</c:v>
                </c:pt>
                <c:pt idx="2">
                  <c:v>72643</c:v>
                </c:pt>
                <c:pt idx="3">
                  <c:v>82842.253375668966</c:v>
                </c:pt>
                <c:pt idx="4">
                  <c:v>92811</c:v>
                </c:pt>
                <c:pt idx="5">
                  <c:v>927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DAC-401A-B387-C3368003BCA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Tosan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D$2:$D$13</c:f>
              <c:numCache>
                <c:formatCode>0,\k</c:formatCode>
                <c:ptCount val="12"/>
                <c:pt idx="0">
                  <c:v>67409</c:v>
                </c:pt>
                <c:pt idx="1">
                  <c:v>61151.791204983878</c:v>
                </c:pt>
                <c:pt idx="2">
                  <c:v>104825</c:v>
                </c:pt>
                <c:pt idx="3">
                  <c:v>42552</c:v>
                </c:pt>
                <c:pt idx="4">
                  <c:v>103104</c:v>
                </c:pt>
                <c:pt idx="5">
                  <c:v>540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DAC-401A-B387-C3368003BCAF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Pectofenil</c:v>
                </c:pt>
              </c:strCache>
            </c:strRef>
          </c:tx>
          <c:spPr>
            <a:ln w="28575" cap="rnd">
              <a:solidFill>
                <a:schemeClr val="tx1"/>
              </a:solidFill>
              <a:round/>
            </a:ln>
            <a:effectLst/>
          </c:spPr>
          <c:marker>
            <c:symbol val="none"/>
          </c:marker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A73D-0342-9C48-C248A50DFA02}"/>
              </c:ext>
            </c:extLst>
          </c:dPt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E$2:$E$13</c:f>
              <c:numCache>
                <c:formatCode>0,\k</c:formatCode>
                <c:ptCount val="12"/>
                <c:pt idx="0">
                  <c:v>56364.24</c:v>
                </c:pt>
                <c:pt idx="1">
                  <c:v>66359.469805814777</c:v>
                </c:pt>
                <c:pt idx="2">
                  <c:v>25553</c:v>
                </c:pt>
                <c:pt idx="3">
                  <c:v>19406</c:v>
                </c:pt>
                <c:pt idx="4">
                  <c:v>2347</c:v>
                </c:pt>
                <c:pt idx="5">
                  <c:v>18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DAC-401A-B387-C3368003BCAF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Unguento Mentolina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F$2:$F$13</c:f>
              <c:numCache>
                <c:formatCode>0,\k</c:formatCode>
                <c:ptCount val="12"/>
                <c:pt idx="0">
                  <c:v>52812</c:v>
                </c:pt>
                <c:pt idx="1">
                  <c:v>66237.474762562299</c:v>
                </c:pt>
                <c:pt idx="2">
                  <c:v>99510</c:v>
                </c:pt>
                <c:pt idx="3">
                  <c:v>58911</c:v>
                </c:pt>
                <c:pt idx="4">
                  <c:v>104334</c:v>
                </c:pt>
                <c:pt idx="5">
                  <c:v>7595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DAC-401A-B387-C3368003BCAF}"/>
            </c:ext>
          </c:extLst>
        </c:ser>
        <c:ser>
          <c:idx val="5"/>
          <c:order val="5"/>
          <c:tx>
            <c:strRef>
              <c:f>Hoja1!$G$1</c:f>
              <c:strCache>
                <c:ptCount val="1"/>
                <c:pt idx="0">
                  <c:v>Vaporub</c:v>
                </c:pt>
              </c:strCache>
            </c:strRef>
          </c:tx>
          <c:spPr>
            <a:ln w="28575" cap="rnd">
              <a:solidFill>
                <a:srgbClr val="FFFF00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G$2:$G$13</c:f>
              <c:numCache>
                <c:formatCode>0,\k</c:formatCode>
                <c:ptCount val="12"/>
                <c:pt idx="0">
                  <c:v>22446.880807121306</c:v>
                </c:pt>
                <c:pt idx="1">
                  <c:v>33355.484827959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A2A-1B48-96C4-1D183D31B3EB}"/>
            </c:ext>
          </c:extLst>
        </c:ser>
        <c:ser>
          <c:idx val="6"/>
          <c:order val="6"/>
          <c:tx>
            <c:strRef>
              <c:f>Hoja1!$H$1</c:f>
              <c:strCache>
                <c:ptCount val="1"/>
                <c:pt idx="0">
                  <c:v>Delor Antig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H$2:$H$13</c:f>
              <c:numCache>
                <c:formatCode>0,\k</c:formatCode>
                <c:ptCount val="12"/>
                <c:pt idx="0">
                  <c:v>22064.804915376837</c:v>
                </c:pt>
                <c:pt idx="1">
                  <c:v>21976.122812520767</c:v>
                </c:pt>
                <c:pt idx="2">
                  <c:v>19585</c:v>
                </c:pt>
                <c:pt idx="3">
                  <c:v>21693</c:v>
                </c:pt>
                <c:pt idx="4">
                  <c:v>69512</c:v>
                </c:pt>
                <c:pt idx="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FA4-5F42-AA1C-566B7824D6DB}"/>
            </c:ext>
          </c:extLst>
        </c:ser>
        <c:ser>
          <c:idx val="7"/>
          <c:order val="7"/>
          <c:tx>
            <c:strRef>
              <c:f>Hoja1!$I$1</c:f>
              <c:strCache>
                <c:ptCount val="1"/>
                <c:pt idx="0">
                  <c:v>Tabcin GyT</c:v>
                </c:pt>
              </c:strCache>
            </c:strRef>
          </c:tx>
          <c:spPr>
            <a:ln w="28575" cap="rnd">
              <a:solidFill>
                <a:srgbClr val="8E3CCF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7030A0"/>
              </a:solidFill>
              <a:ln w="19050">
                <a:solidFill>
                  <a:srgbClr val="7030A0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I$2:$I$13</c:f>
              <c:numCache>
                <c:formatCode>0,\k</c:formatCode>
                <c:ptCount val="12"/>
                <c:pt idx="0">
                  <c:v>27902.08927051444</c:v>
                </c:pt>
                <c:pt idx="1">
                  <c:v>15199.39988989835</c:v>
                </c:pt>
                <c:pt idx="2">
                  <c:v>24005</c:v>
                </c:pt>
                <c:pt idx="3">
                  <c:v>23896</c:v>
                </c:pt>
                <c:pt idx="4">
                  <c:v>48423</c:v>
                </c:pt>
                <c:pt idx="5">
                  <c:v>231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A2F-984B-B67B-D82CB9D6802C}"/>
            </c:ext>
          </c:extLst>
        </c:ser>
        <c:ser>
          <c:idx val="8"/>
          <c:order val="8"/>
          <c:tx>
            <c:strRef>
              <c:f>Hoja1!$J$1</c:f>
              <c:strCache>
                <c:ptCount val="1"/>
                <c:pt idx="0">
                  <c:v>Tabcin Niños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22225">
                <a:solidFill>
                  <a:schemeClr val="accent4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J$2:$J$13</c:f>
              <c:numCache>
                <c:formatCode>0,\k</c:formatCode>
                <c:ptCount val="12"/>
                <c:pt idx="0">
                  <c:v>5089</c:v>
                </c:pt>
                <c:pt idx="1">
                  <c:v>9705</c:v>
                </c:pt>
                <c:pt idx="2">
                  <c:v>9864</c:v>
                </c:pt>
                <c:pt idx="3">
                  <c:v>0</c:v>
                </c:pt>
                <c:pt idx="4">
                  <c:v>47271</c:v>
                </c:pt>
                <c:pt idx="5">
                  <c:v>310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1C2-4047-9BE9-F1828BEC84BC}"/>
            </c:ext>
          </c:extLst>
        </c:ser>
        <c:ser>
          <c:idx val="9"/>
          <c:order val="9"/>
          <c:tx>
            <c:strRef>
              <c:f>Hoja1!$K$1</c:f>
              <c:strCache>
                <c:ptCount val="1"/>
                <c:pt idx="0">
                  <c:v>Sudagrip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K$2:$K$13</c:f>
              <c:numCache>
                <c:formatCode>0,\k</c:formatCode>
                <c:ptCount val="12"/>
                <c:pt idx="0">
                  <c:v>8173.0125222386469</c:v>
                </c:pt>
                <c:pt idx="1">
                  <c:v>5841.1597618899441</c:v>
                </c:pt>
                <c:pt idx="2">
                  <c:v>34332.284023621563</c:v>
                </c:pt>
                <c:pt idx="3">
                  <c:v>66694.7322457806</c:v>
                </c:pt>
                <c:pt idx="4">
                  <c:v>64697.076494750465</c:v>
                </c:pt>
                <c:pt idx="5">
                  <c:v>64863.5343534944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8E9-4A4F-BB39-C949E7676A57}"/>
            </c:ext>
          </c:extLst>
        </c:ser>
        <c:ser>
          <c:idx val="10"/>
          <c:order val="10"/>
          <c:tx>
            <c:strRef>
              <c:f>Hoja1!$L$1</c:f>
              <c:strCache>
                <c:ptCount val="1"/>
                <c:pt idx="0">
                  <c:v>Tabcin FyC</c:v>
                </c:pt>
              </c:strCache>
            </c:strRef>
          </c:tx>
          <c:spPr>
            <a:ln w="28575" cap="rnd">
              <a:solidFill>
                <a:srgbClr val="92D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92D050"/>
              </a:solidFill>
              <a:ln w="22225">
                <a:solidFill>
                  <a:srgbClr val="92D050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L$2:$L$13</c:f>
              <c:numCache>
                <c:formatCode>0,\k</c:formatCode>
                <c:ptCount val="12"/>
                <c:pt idx="4">
                  <c:v>0</c:v>
                </c:pt>
                <c:pt idx="5">
                  <c:v>442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8E9-4A4F-BB39-C949E7676A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3217672"/>
        <c:axId val="312815432"/>
      </c:lineChart>
      <c:dateAx>
        <c:axId val="313217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2815432"/>
        <c:crosses val="autoZero"/>
        <c:auto val="1"/>
        <c:lblOffset val="100"/>
        <c:baseTimeUnit val="months"/>
      </c:dateAx>
      <c:valAx>
        <c:axId val="312815432"/>
        <c:scaling>
          <c:orientation val="minMax"/>
        </c:scaling>
        <c:delete val="0"/>
        <c:axPos val="l"/>
        <c:numFmt formatCode="0,\k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3217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7350836674701306E-3"/>
          <c:y val="0.86635229012920734"/>
          <c:w val="0.97368447592990393"/>
          <c:h val="0.1336477098707926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solidFill>
                <a:srgbClr val="C00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 MT Condensed Light" panose="020B0306030101010103" pitchFamily="34" charset="77"/>
                    <a:ea typeface="+mn-ea"/>
                    <a:cs typeface="+mn-cs"/>
                  </a:defRPr>
                </a:pPr>
                <a:endParaRPr lang="es-H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3</c:f>
              <c:strCache>
                <c:ptCount val="12"/>
                <c:pt idx="0">
                  <c:v>Gripex Plus</c:v>
                </c:pt>
                <c:pt idx="1">
                  <c:v>Mentolina</c:v>
                </c:pt>
                <c:pt idx="2">
                  <c:v>Tosan</c:v>
                </c:pt>
                <c:pt idx="3">
                  <c:v>Dolofin Antig</c:v>
                </c:pt>
                <c:pt idx="4">
                  <c:v>Sudagrip</c:v>
                </c:pt>
                <c:pt idx="5">
                  <c:v>Pectofenil</c:v>
                </c:pt>
                <c:pt idx="6">
                  <c:v>Tabcin GyT</c:v>
                </c:pt>
                <c:pt idx="7">
                  <c:v>Delor Antigripal</c:v>
                </c:pt>
                <c:pt idx="8">
                  <c:v>Broncopulmin</c:v>
                </c:pt>
                <c:pt idx="9">
                  <c:v>Tabcin Niños</c:v>
                </c:pt>
                <c:pt idx="10">
                  <c:v>Vaporub</c:v>
                </c:pt>
                <c:pt idx="11">
                  <c:v>Tabcin FyC</c:v>
                </c:pt>
              </c:strCache>
            </c:strRef>
          </c:cat>
          <c:val>
            <c:numRef>
              <c:f>Hoja1!$B$2:$B$13</c:f>
              <c:numCache>
                <c:formatCode>0,\K</c:formatCode>
                <c:ptCount val="12"/>
                <c:pt idx="0">
                  <c:v>481927.30094629672</c:v>
                </c:pt>
                <c:pt idx="1">
                  <c:v>457754.84857860254</c:v>
                </c:pt>
                <c:pt idx="2">
                  <c:v>433120.89695404813</c:v>
                </c:pt>
                <c:pt idx="3">
                  <c:v>384827.36862562766</c:v>
                </c:pt>
                <c:pt idx="4">
                  <c:v>244601.79940176927</c:v>
                </c:pt>
                <c:pt idx="5">
                  <c:v>171890.50896525342</c:v>
                </c:pt>
                <c:pt idx="6">
                  <c:v>162576.42998428832</c:v>
                </c:pt>
                <c:pt idx="7">
                  <c:v>107827.34867660435</c:v>
                </c:pt>
                <c:pt idx="8">
                  <c:v>103243.85397274682</c:v>
                </c:pt>
                <c:pt idx="9">
                  <c:v>102988.99715429691</c:v>
                </c:pt>
                <c:pt idx="10">
                  <c:v>56248.702246398621</c:v>
                </c:pt>
                <c:pt idx="11">
                  <c:v>44282.758137762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6FE-D949-9C72-BDE8AD6379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9"/>
        <c:overlap val="100"/>
        <c:axId val="1257096639"/>
        <c:axId val="1257098287"/>
      </c:barChart>
      <c:catAx>
        <c:axId val="1257096639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 MT Condensed Light" panose="020B0306030101010103" pitchFamily="34" charset="77"/>
                <a:ea typeface="+mn-ea"/>
                <a:cs typeface="+mn-cs"/>
              </a:defRPr>
            </a:pPr>
            <a:endParaRPr lang="es-HN"/>
          </a:p>
        </c:txPr>
        <c:crossAx val="1257098287"/>
        <c:crosses val="autoZero"/>
        <c:auto val="1"/>
        <c:lblAlgn val="ctr"/>
        <c:lblOffset val="100"/>
        <c:noMultiLvlLbl val="0"/>
      </c:catAx>
      <c:valAx>
        <c:axId val="1257098287"/>
        <c:scaling>
          <c:orientation val="minMax"/>
        </c:scaling>
        <c:delete val="1"/>
        <c:axPos val="t"/>
        <c:numFmt formatCode="0,\K" sourceLinked="1"/>
        <c:majorTickMark val="none"/>
        <c:minorTickMark val="none"/>
        <c:tickLblPos val="nextTo"/>
        <c:crossAx val="125709663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HN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sz="1100" b="1" i="0" u="none" strike="noStrike" kern="1200" baseline="0">
                <a:solidFill>
                  <a:schemeClr val="bg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100" dirty="0"/>
              <a:t> </a:t>
            </a:r>
            <a:r>
              <a:rPr lang="es-MX" sz="1400" dirty="0">
                <a:solidFill>
                  <a:schemeClr val="tx1"/>
                </a:solidFill>
              </a:rPr>
              <a:t>TV SPOT LENGHT</a:t>
            </a:r>
            <a:endParaRPr lang="es-HN" sz="14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42290570317304799"/>
          <c:y val="3.986300095978938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sz="1100" b="1" i="0" u="none" strike="noStrike" kern="1200" baseline="0">
              <a:solidFill>
                <a:schemeClr val="bg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"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Broncopulmin</c:v>
                </c:pt>
                <c:pt idx="7">
                  <c:v>Tabcin FyC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56000000000000005</c:v>
                </c:pt>
                <c:pt idx="1">
                  <c:v>0.84</c:v>
                </c:pt>
                <c:pt idx="2">
                  <c:v>0.36</c:v>
                </c:pt>
                <c:pt idx="3">
                  <c:v>0.06</c:v>
                </c:pt>
                <c:pt idx="4">
                  <c:v>0.11</c:v>
                </c:pt>
                <c:pt idx="5">
                  <c:v>0.46</c:v>
                </c:pt>
                <c:pt idx="6">
                  <c:v>0.66</c:v>
                </c:pt>
                <c:pt idx="7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F3-AF48-AEFC-4AC5A95D482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0"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Broncopulmin</c:v>
                </c:pt>
                <c:pt idx="7">
                  <c:v>Tabcin FyC</c:v>
                </c:pt>
              </c:strCache>
            </c:strRef>
          </c:cat>
          <c:val>
            <c:numRef>
              <c:f>Sheet1!$C$2:$C$9</c:f>
              <c:numCache>
                <c:formatCode>0%</c:formatCode>
                <c:ptCount val="8"/>
                <c:pt idx="0">
                  <c:v>0.22</c:v>
                </c:pt>
                <c:pt idx="1">
                  <c:v>0.16</c:v>
                </c:pt>
                <c:pt idx="2">
                  <c:v>0.64</c:v>
                </c:pt>
                <c:pt idx="5">
                  <c:v>0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5F3-AF48-AEFC-4AC5A95D482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"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Broncopulmin</c:v>
                </c:pt>
                <c:pt idx="7">
                  <c:v>Tabcin FyC</c:v>
                </c:pt>
              </c:strCache>
            </c:strRef>
          </c:cat>
          <c:val>
            <c:numRef>
              <c:f>Sheet1!$D$2:$D$9</c:f>
              <c:numCache>
                <c:formatCode>0%</c:formatCode>
                <c:ptCount val="8"/>
                <c:pt idx="7">
                  <c:v>0.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5F3-AF48-AEFC-4AC5A95D482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30"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Broncopulmin</c:v>
                </c:pt>
                <c:pt idx="7">
                  <c:v>Tabcin FyC</c:v>
                </c:pt>
              </c:strCache>
            </c:strRef>
          </c:cat>
          <c:val>
            <c:numRef>
              <c:f>Sheet1!$E$2:$E$9</c:f>
              <c:numCache>
                <c:formatCode>0%</c:formatCode>
                <c:ptCount val="8"/>
                <c:pt idx="0">
                  <c:v>0.22</c:v>
                </c:pt>
                <c:pt idx="3">
                  <c:v>0.94</c:v>
                </c:pt>
                <c:pt idx="4">
                  <c:v>0.89</c:v>
                </c:pt>
                <c:pt idx="6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752-5B46-9834-540246EBFBB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908284382103304"/>
          <c:y val="0.87199422410618987"/>
          <c:w val="0.48146712475946657"/>
          <c:h val="6.527974755171349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bg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CATEGORY</a:t>
            </a:r>
            <a:endParaRPr lang="es-MX" sz="800" dirty="0"/>
          </a:p>
        </c:rich>
      </c:tx>
      <c:layout>
        <c:manualLayout>
          <c:xMode val="edge"/>
          <c:yMode val="edge"/>
          <c:x val="0.37104721867216989"/>
          <c:y val="3.57366221673771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icia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l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Tosan</c:v>
                </c:pt>
                <c:pt idx="7">
                  <c:v>Tabcin FyC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98</c:v>
                </c:pt>
                <c:pt idx="1">
                  <c:v>0.14849999999999999</c:v>
                </c:pt>
                <c:pt idx="2">
                  <c:v>0.71389999999999998</c:v>
                </c:pt>
                <c:pt idx="3">
                  <c:v>0.5575</c:v>
                </c:pt>
                <c:pt idx="4">
                  <c:v>0.77070000000000005</c:v>
                </c:pt>
                <c:pt idx="6">
                  <c:v>0.34289999999999998</c:v>
                </c:pt>
                <c:pt idx="7">
                  <c:v>0.7080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BD9-C34C-B4F0-93DCE62E028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porte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l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Tosan</c:v>
                </c:pt>
                <c:pt idx="7">
                  <c:v>Tabcin FyC</c:v>
                </c:pt>
              </c:strCache>
            </c:strRef>
          </c:cat>
          <c:val>
            <c:numRef>
              <c:f>Sheet1!$C$2:$C$9</c:f>
              <c:numCache>
                <c:formatCode>0%</c:formatCode>
                <c:ptCount val="8"/>
                <c:pt idx="2">
                  <c:v>6.9900000000000004E-2</c:v>
                </c:pt>
                <c:pt idx="3">
                  <c:v>2.3900000000000001E-2</c:v>
                </c:pt>
                <c:pt idx="4">
                  <c:v>0.1656</c:v>
                </c:pt>
                <c:pt idx="6">
                  <c:v>0.61019999999999996</c:v>
                </c:pt>
                <c:pt idx="7">
                  <c:v>1.38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BD9-C34C-B4F0-93DCE62E028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velas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l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Tosan</c:v>
                </c:pt>
                <c:pt idx="7">
                  <c:v>Tabcin FyC</c:v>
                </c:pt>
              </c:strCache>
            </c:strRef>
          </c:cat>
          <c:val>
            <c:numRef>
              <c:f>Sheet1!$D$2:$D$9</c:f>
              <c:numCache>
                <c:formatCode>0%</c:formatCode>
                <c:ptCount val="8"/>
                <c:pt idx="0">
                  <c:v>0.02</c:v>
                </c:pt>
                <c:pt idx="1">
                  <c:v>0.37319999999999998</c:v>
                </c:pt>
                <c:pt idx="3">
                  <c:v>0.29609999999999997</c:v>
                </c:pt>
                <c:pt idx="4">
                  <c:v>3.5099999999999999E-2</c:v>
                </c:pt>
                <c:pt idx="5">
                  <c:v>0.5351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BD9-C34C-B4F0-93DCE62E0288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ntreten.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l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Tosan</c:v>
                </c:pt>
                <c:pt idx="7">
                  <c:v>Tabcin FyC</c:v>
                </c:pt>
              </c:strCache>
            </c:strRef>
          </c:cat>
          <c:val>
            <c:numRef>
              <c:f>Sheet1!$E$2:$E$9</c:f>
              <c:numCache>
                <c:formatCode>0%</c:formatCode>
                <c:ptCount val="8"/>
                <c:pt idx="1">
                  <c:v>0.42</c:v>
                </c:pt>
                <c:pt idx="2">
                  <c:v>0.12939999999999999</c:v>
                </c:pt>
                <c:pt idx="3">
                  <c:v>7.4099999999999999E-2</c:v>
                </c:pt>
                <c:pt idx="5">
                  <c:v>0.36</c:v>
                </c:pt>
                <c:pt idx="7">
                  <c:v>0.1665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BD9-C34C-B4F0-93DCE62E0288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tro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l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Tosan</c:v>
                </c:pt>
                <c:pt idx="7">
                  <c:v>Tabcin FyC</c:v>
                </c:pt>
              </c:strCache>
            </c:strRef>
          </c:cat>
          <c:val>
            <c:numRef>
              <c:f>Sheet1!$F$2:$F$9</c:f>
              <c:numCache>
                <c:formatCode>0%</c:formatCode>
                <c:ptCount val="8"/>
                <c:pt idx="1">
                  <c:v>0.06</c:v>
                </c:pt>
                <c:pt idx="2">
                  <c:v>0.09</c:v>
                </c:pt>
                <c:pt idx="3">
                  <c:v>0.05</c:v>
                </c:pt>
                <c:pt idx="4">
                  <c:v>0.03</c:v>
                </c:pt>
                <c:pt idx="5">
                  <c:v>0.11</c:v>
                </c:pt>
                <c:pt idx="6">
                  <c:v>0.05</c:v>
                </c:pt>
                <c:pt idx="7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BD9-C34C-B4F0-93DCE62E02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436722217280691"/>
          <c:y val="0.8604806556979171"/>
          <c:w val="0.76408128517743357"/>
          <c:h val="7.69076816581733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CATEGORY</a:t>
            </a:r>
            <a:endParaRPr lang="es-MX" sz="800" dirty="0"/>
          </a:p>
        </c:rich>
      </c:tx>
      <c:layout>
        <c:manualLayout>
          <c:xMode val="edge"/>
          <c:yMode val="edge"/>
          <c:x val="0.37104721867216989"/>
          <c:y val="3.57366221673771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VC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Tosan</c:v>
                </c:pt>
                <c:pt idx="7">
                  <c:v>Tabcin FyC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2">
                  <c:v>0.35</c:v>
                </c:pt>
                <c:pt idx="4">
                  <c:v>0.26</c:v>
                </c:pt>
                <c:pt idx="5">
                  <c:v>0.77</c:v>
                </c:pt>
                <c:pt idx="6">
                  <c:v>0.84</c:v>
                </c:pt>
                <c:pt idx="7">
                  <c:v>0.28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275-904C-B8BD-4E2579AF551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C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Tosan</c:v>
                </c:pt>
                <c:pt idx="7">
                  <c:v>Tabcin FyC</c:v>
                </c:pt>
              </c:strCache>
            </c:strRef>
          </c:cat>
          <c:val>
            <c:numRef>
              <c:f>Sheet1!$C$2:$C$9</c:f>
              <c:numCache>
                <c:formatCode>0%</c:formatCode>
                <c:ptCount val="8"/>
                <c:pt idx="0">
                  <c:v>0.97</c:v>
                </c:pt>
                <c:pt idx="1">
                  <c:v>0.12</c:v>
                </c:pt>
                <c:pt idx="2">
                  <c:v>0.65</c:v>
                </c:pt>
                <c:pt idx="3">
                  <c:v>0.36</c:v>
                </c:pt>
                <c:pt idx="4">
                  <c:v>0.7</c:v>
                </c:pt>
                <c:pt idx="5">
                  <c:v>0.23</c:v>
                </c:pt>
                <c:pt idx="6">
                  <c:v>0.16</c:v>
                </c:pt>
                <c:pt idx="7">
                  <c:v>0.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275-904C-B8BD-4E2579AF551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11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Tosan</c:v>
                </c:pt>
                <c:pt idx="7">
                  <c:v>Tabcin FyC</c:v>
                </c:pt>
              </c:strCache>
            </c:strRef>
          </c:cat>
          <c:val>
            <c:numRef>
              <c:f>Sheet1!$D$2:$D$9</c:f>
              <c:numCache>
                <c:formatCode>0%</c:formatCode>
                <c:ptCount val="8"/>
                <c:pt idx="0">
                  <c:v>0.03</c:v>
                </c:pt>
                <c:pt idx="1">
                  <c:v>0.78</c:v>
                </c:pt>
                <c:pt idx="4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275-904C-B8BD-4E2579AF551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VTV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Grip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Tosan</c:v>
                </c:pt>
                <c:pt idx="7">
                  <c:v>Tabcin FyC</c:v>
                </c:pt>
              </c:strCache>
            </c:strRef>
          </c:cat>
          <c:val>
            <c:numRef>
              <c:f>Sheet1!$E$2:$E$9</c:f>
              <c:numCache>
                <c:formatCode>0%</c:formatCode>
                <c:ptCount val="8"/>
                <c:pt idx="1">
                  <c:v>0.03</c:v>
                </c:pt>
                <c:pt idx="3">
                  <c:v>0.6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275-904C-B8BD-4E2579AF551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Azteca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Sheet1!$A$2:$A$9</c:f>
              <c:strCache>
                <c:ptCount val="8"/>
                <c:pt idx="0">
                  <c:v>Gripex Plus</c:v>
                </c:pt>
                <c:pt idx="1">
                  <c:v>Sudagrip</c:v>
                </c:pt>
                <c:pt idx="2">
                  <c:v>Tabcin GyT</c:v>
                </c:pt>
                <c:pt idx="3">
                  <c:v>Dolofin Ant</c:v>
                </c:pt>
                <c:pt idx="4">
                  <c:v>Mentolina</c:v>
                </c:pt>
                <c:pt idx="5">
                  <c:v>Tabcin Niños</c:v>
                </c:pt>
                <c:pt idx="6">
                  <c:v>Tosan</c:v>
                </c:pt>
                <c:pt idx="7">
                  <c:v>Tabcin FyC</c:v>
                </c:pt>
              </c:strCache>
            </c:strRef>
          </c:cat>
          <c:val>
            <c:numRef>
              <c:f>Sheet1!$F$2:$F$9</c:f>
              <c:numCache>
                <c:formatCode>0%</c:formatCode>
                <c:ptCount val="8"/>
                <c:pt idx="1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275-904C-B8BD-4E2579AF55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00446869506468"/>
          <c:y val="0.87360493118653759"/>
          <c:w val="0.81961270346961823"/>
          <c:h val="6.553133266253138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dirty="0">
                <a:solidFill>
                  <a:schemeClr val="tx1"/>
                </a:solidFill>
              </a:rPr>
              <a:t>SOI-SOV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3.8989989460924718E-2"/>
          <c:y val="0.1386697829752874"/>
          <c:w val="0.9288227884557565"/>
          <c:h val="0.679576030319258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OI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4"/>
              <c:layout>
                <c:manualLayout>
                  <c:x val="-9.7338445006845062E-3"/>
                  <c:y val="4.359994067661614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Cardio Delor</c:v>
                </c:pt>
                <c:pt idx="1">
                  <c:v>CardioAspirina</c:v>
                </c:pt>
                <c:pt idx="2">
                  <c:v>CardioVital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0.65</c:v>
                </c:pt>
                <c:pt idx="1">
                  <c:v>0.21</c:v>
                </c:pt>
                <c:pt idx="2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D0-497D-81BA-2AD4B7BE67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O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1.362738230095819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D0-497D-81BA-2AD4B7BE6749}"/>
                </c:ext>
              </c:extLst>
            </c:dLbl>
            <c:dLbl>
              <c:idx val="1"/>
              <c:layout>
                <c:manualLayout>
                  <c:x val="1.168061340082132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Cardio Delor</c:v>
                </c:pt>
                <c:pt idx="1">
                  <c:v>CardioAspirina</c:v>
                </c:pt>
                <c:pt idx="2">
                  <c:v>CardioVital</c:v>
                </c:pt>
              </c:strCache>
            </c:strRef>
          </c:cat>
          <c:val>
            <c:numRef>
              <c:f>Hoja1!$C$2:$C$4</c:f>
              <c:numCache>
                <c:formatCode>0%</c:formatCode>
                <c:ptCount val="3"/>
                <c:pt idx="0">
                  <c:v>0.45</c:v>
                </c:pt>
                <c:pt idx="1">
                  <c:v>0.4</c:v>
                </c:pt>
                <c:pt idx="2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0521320"/>
        <c:axId val="350519752"/>
      </c:barChart>
      <c:lineChart>
        <c:grouping val="standard"/>
        <c:varyColors val="0"/>
        <c:ser>
          <c:idx val="2"/>
          <c:order val="2"/>
          <c:tx>
            <c:strRef>
              <c:f>Hoja1!$D$1</c:f>
              <c:strCache>
                <c:ptCount val="1"/>
                <c:pt idx="0">
                  <c:v>I.E.</c:v>
                </c:pt>
              </c:strCache>
            </c:strRef>
          </c:tx>
          <c:spPr>
            <a:ln w="34925" cap="rnd">
              <a:solidFill>
                <a:schemeClr val="accent6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6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Cardio Delor</c:v>
                </c:pt>
                <c:pt idx="1">
                  <c:v>CardioAspirina</c:v>
                </c:pt>
                <c:pt idx="2">
                  <c:v>CardioVital</c:v>
                </c:pt>
              </c:strCache>
            </c:strRef>
          </c:cat>
          <c:val>
            <c:numRef>
              <c:f>Hoja1!$D$2:$D$4</c:f>
              <c:numCache>
                <c:formatCode>0.00</c:formatCode>
                <c:ptCount val="3"/>
                <c:pt idx="0">
                  <c:v>0.69230769230769229</c:v>
                </c:pt>
                <c:pt idx="1">
                  <c:v>1.9047619047619049</c:v>
                </c:pt>
                <c:pt idx="2">
                  <c:v>1.07142857142857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0516224"/>
        <c:axId val="350522496"/>
      </c:lineChart>
      <c:catAx>
        <c:axId val="350521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9752"/>
        <c:crosses val="autoZero"/>
        <c:auto val="1"/>
        <c:lblAlgn val="ctr"/>
        <c:lblOffset val="100"/>
        <c:noMultiLvlLbl val="0"/>
      </c:catAx>
      <c:valAx>
        <c:axId val="350519752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21320"/>
        <c:crosses val="autoZero"/>
        <c:crossBetween val="between"/>
      </c:valAx>
      <c:valAx>
        <c:axId val="350522496"/>
        <c:scaling>
          <c:orientation val="minMax"/>
          <c:min val="0"/>
        </c:scaling>
        <c:delete val="0"/>
        <c:axPos val="r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6224"/>
        <c:crosses val="max"/>
        <c:crossBetween val="between"/>
      </c:valAx>
      <c:catAx>
        <c:axId val="3505162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05224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b="1" dirty="0"/>
              <a:t>SEASONA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7.5695866818642696E-2"/>
          <c:y val="0.19662278534839772"/>
          <c:w val="0.92388468586498484"/>
          <c:h val="0.64151234599537454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ardio Delor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rgbClr val="C00000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B$2:$B$13</c:f>
              <c:numCache>
                <c:formatCode>[$$-540A]#,##0</c:formatCode>
                <c:ptCount val="12"/>
                <c:pt idx="0">
                  <c:v>44837.415132398091</c:v>
                </c:pt>
                <c:pt idx="1">
                  <c:v>43569.610075942532</c:v>
                </c:pt>
                <c:pt idx="2">
                  <c:v>38190.42</c:v>
                </c:pt>
                <c:pt idx="3" formatCode="_-[$$-409]* #,##0_ ;_-[$$-409]* \-#,##0\ ;_-[$$-409]* &quot;-&quot;??_ ;_-@_ ">
                  <c:v>42413</c:v>
                </c:pt>
                <c:pt idx="4">
                  <c:v>410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AC-401A-B387-C3368003BCA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Cardio Aspirina</c:v>
                </c:pt>
              </c:strCache>
            </c:strRef>
          </c:tx>
          <c:spPr>
            <a:ln w="28575" cap="rnd">
              <a:solidFill>
                <a:schemeClr val="accent6">
                  <a:lumMod val="75000"/>
                </a:schemeClr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C$2:$C$13</c:f>
              <c:numCache>
                <c:formatCode>[$$-540A]#,##0</c:formatCode>
                <c:ptCount val="12"/>
                <c:pt idx="0">
                  <c:v>26605.793109579732</c:v>
                </c:pt>
                <c:pt idx="1">
                  <c:v>34025.167934828554</c:v>
                </c:pt>
                <c:pt idx="2">
                  <c:v>10109</c:v>
                </c:pt>
                <c:pt idx="3">
                  <c:v>9109</c:v>
                </c:pt>
                <c:pt idx="4">
                  <c:v>463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DAC-401A-B387-C3368003BCA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Cardio Vital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D$2:$D$13</c:f>
              <c:numCache>
                <c:formatCode>[$$-540A]#,##0</c:formatCode>
                <c:ptCount val="12"/>
                <c:pt idx="0">
                  <c:v>0</c:v>
                </c:pt>
                <c:pt idx="1">
                  <c:v>22538.834064716157</c:v>
                </c:pt>
                <c:pt idx="2">
                  <c:v>0</c:v>
                </c:pt>
                <c:pt idx="3">
                  <c:v>21517</c:v>
                </c:pt>
                <c:pt idx="4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201-0B43-AEE1-7BA622E5646E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Amlocard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>
                  <a:lumMod val="75000"/>
                </a:schemeClr>
              </a:solidFill>
              <a:ln w="9525">
                <a:solidFill>
                  <a:schemeClr val="accent5">
                    <a:lumMod val="75000"/>
                  </a:schemeClr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E$2:$E$13</c:f>
              <c:numCache>
                <c:formatCode>[$$-540A]#,##0</c:formatCode>
                <c:ptCount val="12"/>
                <c:pt idx="0">
                  <c:v>0</c:v>
                </c:pt>
                <c:pt idx="1">
                  <c:v>2025.5984600266199</c:v>
                </c:pt>
                <c:pt idx="2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201-0B43-AEE1-7BA622E564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3217672"/>
        <c:axId val="312815432"/>
      </c:lineChart>
      <c:dateAx>
        <c:axId val="313217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2815432"/>
        <c:crosses val="autoZero"/>
        <c:auto val="1"/>
        <c:lblOffset val="100"/>
        <c:baseTimeUnit val="months"/>
      </c:dateAx>
      <c:valAx>
        <c:axId val="312815432"/>
        <c:scaling>
          <c:orientation val="minMax"/>
        </c:scaling>
        <c:delete val="0"/>
        <c:axPos val="l"/>
        <c:numFmt formatCode="[$$-540A]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3217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Hoja1!$B$1</c:f>
              <c:strCache>
                <c:ptCount val="1"/>
                <c:pt idx="0">
                  <c:v>Ventas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0C27-2740-9F2F-74E468837A7A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0C27-2740-9F2F-74E468837A7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FED1-AD40-B23B-DE8E8F90F3C2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0C27-2740-9F2F-74E468837A7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0C27-2740-9F2F-74E468837A7A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C27-2740-9F2F-74E468837A7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C27-2740-9F2F-74E468837A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Hoja1!$A$2:$A$6</c:f>
              <c:strCache>
                <c:ptCount val="5"/>
                <c:pt idx="0">
                  <c:v>OTV</c:v>
                </c:pt>
                <c:pt idx="1">
                  <c:v>RA</c:v>
                </c:pt>
                <c:pt idx="2">
                  <c:v>OOH</c:v>
                </c:pt>
                <c:pt idx="3">
                  <c:v>CAB</c:v>
                </c:pt>
                <c:pt idx="4">
                  <c:v>PR</c:v>
                </c:pt>
              </c:strCache>
            </c:strRef>
          </c:cat>
          <c:val>
            <c:numRef>
              <c:f>Hoja1!$B$2:$B$6</c:f>
              <c:numCache>
                <c:formatCode>0%</c:formatCode>
                <c:ptCount val="5"/>
                <c:pt idx="0">
                  <c:v>0.77</c:v>
                </c:pt>
                <c:pt idx="1">
                  <c:v>0.22</c:v>
                </c:pt>
                <c:pt idx="2">
                  <c:v>0.01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C27-2740-9F2F-74E468837A7A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HN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</a:rPr>
              <a:t>SOI BY BRAND ($383K) – </a:t>
            </a:r>
            <a:r>
              <a:rPr lang="en-US" sz="1400" dirty="0" err="1">
                <a:solidFill>
                  <a:schemeClr val="tx1"/>
                </a:solidFill>
              </a:rPr>
              <a:t>Abr</a:t>
            </a:r>
            <a:r>
              <a:rPr lang="en-US" sz="1400" dirty="0">
                <a:solidFill>
                  <a:schemeClr val="tx1"/>
                </a:solidFill>
              </a:rPr>
              <a:t> YTD</a:t>
            </a:r>
          </a:p>
        </c:rich>
      </c:tx>
      <c:layout>
        <c:manualLayout>
          <c:xMode val="edge"/>
          <c:yMode val="edge"/>
          <c:x val="0.24622198618676994"/>
          <c:y val="3.7193348892062853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22709838592446138"/>
          <c:y val="0.13339409223189086"/>
          <c:w val="0.77290161407553859"/>
          <c:h val="0.825693223986839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Amlocard</c:v>
                </c:pt>
                <c:pt idx="1">
                  <c:v>Cardio Vital</c:v>
                </c:pt>
                <c:pt idx="2">
                  <c:v>Cardio Aspirina</c:v>
                </c:pt>
                <c:pt idx="3">
                  <c:v>Cardio Delor</c:v>
                </c:pt>
              </c:strCache>
            </c:strRef>
          </c:cat>
          <c:val>
            <c:numRef>
              <c:f>Sheet1!$B$2:$B$5</c:f>
              <c:numCache>
                <c:formatCode>0,\K</c:formatCode>
                <c:ptCount val="4"/>
                <c:pt idx="0">
                  <c:v>2026</c:v>
                </c:pt>
                <c:pt idx="1">
                  <c:v>44055.76</c:v>
                </c:pt>
                <c:pt idx="2">
                  <c:v>126184.79</c:v>
                </c:pt>
                <c:pt idx="3">
                  <c:v>210099.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51-41A6-AE7A-FE1BDF8FE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-20"/>
        <c:axId val="881978959"/>
        <c:axId val="881975351"/>
      </c:barChart>
      <c:catAx>
        <c:axId val="88197895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881975351"/>
        <c:crosses val="autoZero"/>
        <c:auto val="1"/>
        <c:lblAlgn val="r"/>
        <c:lblOffset val="100"/>
        <c:noMultiLvlLbl val="0"/>
      </c:catAx>
      <c:valAx>
        <c:axId val="881975351"/>
        <c:scaling>
          <c:orientation val="minMax"/>
        </c:scaling>
        <c:delete val="1"/>
        <c:axPos val="b"/>
        <c:numFmt formatCode="0,\K" sourceLinked="1"/>
        <c:majorTickMark val="none"/>
        <c:minorTickMark val="none"/>
        <c:tickLblPos val="nextTo"/>
        <c:crossAx val="88197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/>
              <a:t>MEDIA MIX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V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7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9D-304E-ABA9-30FF18EBDE68}"/>
                </c:ext>
              </c:extLst>
            </c:dLbl>
            <c:dLbl>
              <c:idx val="1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9D-304E-ABA9-30FF18EBDE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Delor</c:v>
                </c:pt>
                <c:pt idx="1">
                  <c:v>Cardio Aspirina</c:v>
                </c:pt>
                <c:pt idx="2">
                  <c:v>Cardio Vital</c:v>
                </c:pt>
                <c:pt idx="3">
                  <c:v>Amlocard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1</c:v>
                </c:pt>
                <c:pt idx="1">
                  <c:v>0.53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5B-448A-8CA7-0258257651B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T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Delor</c:v>
                </c:pt>
                <c:pt idx="1">
                  <c:v>Cardio Aspirina</c:v>
                </c:pt>
                <c:pt idx="2">
                  <c:v>Cardio Vital</c:v>
                </c:pt>
                <c:pt idx="3">
                  <c:v>Amlocard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1-895B-448A-8CA7-0258257651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AD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Delor</c:v>
                </c:pt>
                <c:pt idx="1">
                  <c:v>Cardio Aspirina</c:v>
                </c:pt>
                <c:pt idx="2">
                  <c:v>Cardio Vital</c:v>
                </c:pt>
                <c:pt idx="3">
                  <c:v>Amlocard</c:v>
                </c:pt>
              </c:strCache>
            </c:strRef>
          </c:cat>
          <c:val>
            <c:numRef>
              <c:f>Sheet1!$D$2:$D$5</c:f>
              <c:numCache>
                <c:formatCode>0%</c:formatCode>
                <c:ptCount val="4"/>
                <c:pt idx="1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95B-448A-8CA7-0258257651B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E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Delor</c:v>
                </c:pt>
                <c:pt idx="1">
                  <c:v>Cardio Aspirina</c:v>
                </c:pt>
                <c:pt idx="2">
                  <c:v>Cardio Vital</c:v>
                </c:pt>
                <c:pt idx="3">
                  <c:v>Amlocard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3" formatCode="0%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87A-F445-A09B-96EE228511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O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Sheet1!$A$2:$A$5</c:f>
              <c:strCache>
                <c:ptCount val="4"/>
                <c:pt idx="0">
                  <c:v>Delor</c:v>
                </c:pt>
                <c:pt idx="1">
                  <c:v>Cardio Aspirina</c:v>
                </c:pt>
                <c:pt idx="2">
                  <c:v>Cardio Vital</c:v>
                </c:pt>
                <c:pt idx="3">
                  <c:v>Amlocard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1-487A-F445-A09B-96EE228511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b="1" i="0" baseline="0" dirty="0">
                <a:effectLst/>
              </a:rPr>
              <a:t>TV SOV (915) TRP’S)</a:t>
            </a:r>
            <a:endParaRPr lang="es-HN" sz="1400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VC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rdio Delor</c:v>
                </c:pt>
                <c:pt idx="1">
                  <c:v>Cardio Aspirina</c:v>
                </c:pt>
                <c:pt idx="2">
                  <c:v>Cardio Vital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1">
                  <c:v>0.64</c:v>
                </c:pt>
                <c:pt idx="2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E55-B242-83C7-F162128C0A2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C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rdio Delor</c:v>
                </c:pt>
                <c:pt idx="1">
                  <c:v>Cardio Aspirina</c:v>
                </c:pt>
                <c:pt idx="2">
                  <c:v>Cardio Vital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1">
                  <c:v>0.36</c:v>
                </c:pt>
                <c:pt idx="2">
                  <c:v>0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E55-B242-83C7-F162128C0A2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TV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rdio Delor</c:v>
                </c:pt>
                <c:pt idx="1">
                  <c:v>Cardio Aspirina</c:v>
                </c:pt>
                <c:pt idx="2">
                  <c:v>Cardio Vital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 formatCode="0%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E55-B242-83C7-F162128C0A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5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647512287"/>
        <c:crosses val="max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4386359583544807"/>
          <c:y val="0.85399210101780321"/>
          <c:w val="0.65613640416455188"/>
          <c:h val="7.540903861761537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SPOT LENGH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1.1503812628431528E-2"/>
          <c:y val="0.14704455135999536"/>
          <c:w val="0.95205851217511228"/>
          <c:h val="0.7341431858058925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'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rdio Delor</c:v>
                </c:pt>
                <c:pt idx="1">
                  <c:v>Cardio Aspirina</c:v>
                </c:pt>
                <c:pt idx="2">
                  <c:v>Cardio Vital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1">
                  <c:v>0.48180000000000001</c:v>
                </c:pt>
                <c:pt idx="2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B6-4331-902C-907B32E793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0'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rdio Delor</c:v>
                </c:pt>
                <c:pt idx="1">
                  <c:v>Cardio Aspirina</c:v>
                </c:pt>
                <c:pt idx="2">
                  <c:v>Cardio Vital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1-A0B6-4331-902C-907B32E793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'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rdio Delor</c:v>
                </c:pt>
                <c:pt idx="1">
                  <c:v>Cardio Aspirina</c:v>
                </c:pt>
                <c:pt idx="2">
                  <c:v>Cardio Vital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1">
                  <c:v>0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B6-4331-902C-907B32E7939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30'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rdio Delor</c:v>
                </c:pt>
                <c:pt idx="1">
                  <c:v>Cardio Aspirina</c:v>
                </c:pt>
                <c:pt idx="2">
                  <c:v>Cardio Vital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 formatCode="0%">
                  <c:v>1</c:v>
                </c:pt>
                <c:pt idx="2" formatCode="0%">
                  <c:v>0.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F8-AC4D-97E1-24BAAD51EFF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401017860076986"/>
          <c:y val="0.87615341095773103"/>
          <c:w val="0.55505859708372252"/>
          <c:h val="7.83425493942767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CATEGOR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1827754609001871"/>
          <c:y val="0.14704455135999536"/>
          <c:w val="0.84528453677851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ICIA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rdio Delor</c:v>
                </c:pt>
                <c:pt idx="1">
                  <c:v>Cardio Aspirina</c:v>
                </c:pt>
                <c:pt idx="2">
                  <c:v>Cardio Vital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6809999999999998</c:v>
                </c:pt>
                <c:pt idx="1">
                  <c:v>0.75</c:v>
                </c:pt>
                <c:pt idx="2">
                  <c:v>0.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F3-6040-AEB6-03F67499D84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PORTE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rdio Delor</c:v>
                </c:pt>
                <c:pt idx="1">
                  <c:v>Cardio Aspirina</c:v>
                </c:pt>
                <c:pt idx="2">
                  <c:v>Cardio Vital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 formatCode="0%">
                  <c:v>0.01</c:v>
                </c:pt>
                <c:pt idx="2" formatCode="0%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F3-6040-AEB6-03F67499D84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VELAS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rdio Delor</c:v>
                </c:pt>
                <c:pt idx="1">
                  <c:v>Cardio Aspirina</c:v>
                </c:pt>
                <c:pt idx="2">
                  <c:v>Cardio Vital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  <c:pt idx="0" formatCode="0%">
                  <c:v>0.30099999999999999</c:v>
                </c:pt>
                <c:pt idx="2" formatCode="0%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F3-6040-AEB6-03F67499D84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NTRETENIMIENTO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rdio Delor</c:v>
                </c:pt>
                <c:pt idx="1">
                  <c:v>Cardio Aspirina</c:v>
                </c:pt>
                <c:pt idx="2">
                  <c:v>Cardio Vital</c:v>
                </c:pt>
              </c:strCache>
            </c:strRef>
          </c:cat>
          <c:val>
            <c:numRef>
              <c:f>Sheet1!$E$2:$E$4</c:f>
              <c:numCache>
                <c:formatCode>General</c:formatCode>
                <c:ptCount val="3"/>
                <c:pt idx="0" formatCode="0%">
                  <c:v>0.24909999999999999</c:v>
                </c:pt>
                <c:pt idx="2" formatCode="0%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F3-6040-AEB6-03F67499D84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TRO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Cardio Delor</c:v>
                </c:pt>
                <c:pt idx="1">
                  <c:v>Cardio Aspirina</c:v>
                </c:pt>
                <c:pt idx="2">
                  <c:v>Cardio Vital</c:v>
                </c:pt>
              </c:strCache>
            </c:strRef>
          </c:cat>
          <c:val>
            <c:numRef>
              <c:f>Sheet1!$F$2:$F$4</c:f>
              <c:numCache>
                <c:formatCode>0%</c:formatCode>
                <c:ptCount val="3"/>
                <c:pt idx="0">
                  <c:v>7.0000000000000007E-2</c:v>
                </c:pt>
                <c:pt idx="1">
                  <c:v>0.25</c:v>
                </c:pt>
                <c:pt idx="2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5F3-6040-AEB6-03F67499D8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0000101800949284E-2"/>
          <c:y val="0.87251101895199268"/>
          <c:w val="0.89999979639810146"/>
          <c:h val="7.77885179478440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dirty="0">
                <a:solidFill>
                  <a:schemeClr val="tx1"/>
                </a:solidFill>
              </a:rPr>
              <a:t>SOI-SOV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3.8989989460924718E-2"/>
          <c:y val="0.1386697829752874"/>
          <c:w val="0.9288227884557565"/>
          <c:h val="0.679576030319258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OI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4"/>
              <c:layout>
                <c:manualLayout>
                  <c:x val="-9.7338445006845062E-3"/>
                  <c:y val="4.359994067661614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Alka Seltzer</c:v>
                </c:pt>
                <c:pt idx="1">
                  <c:v>Alka Extreme</c:v>
                </c:pt>
                <c:pt idx="2">
                  <c:v>Pepto Bismol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0.83</c:v>
                </c:pt>
                <c:pt idx="1">
                  <c:v>0.12</c:v>
                </c:pt>
                <c:pt idx="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D0-497D-81BA-2AD4B7BE67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O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1.362738230095819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Alka Seltzer</c:v>
                </c:pt>
                <c:pt idx="1">
                  <c:v>Alka Extreme</c:v>
                </c:pt>
                <c:pt idx="2">
                  <c:v>Pepto Bismol</c:v>
                </c:pt>
              </c:strCache>
            </c:strRef>
          </c:cat>
          <c:val>
            <c:numRef>
              <c:f>Hoja1!$C$2:$C$4</c:f>
              <c:numCache>
                <c:formatCode>0%</c:formatCode>
                <c:ptCount val="3"/>
                <c:pt idx="0">
                  <c:v>0.78</c:v>
                </c:pt>
                <c:pt idx="1">
                  <c:v>0.12</c:v>
                </c:pt>
                <c:pt idx="2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0521320"/>
        <c:axId val="350519752"/>
      </c:barChart>
      <c:lineChart>
        <c:grouping val="standard"/>
        <c:varyColors val="0"/>
        <c:ser>
          <c:idx val="2"/>
          <c:order val="2"/>
          <c:tx>
            <c:strRef>
              <c:f>Hoja1!$D$1</c:f>
              <c:strCache>
                <c:ptCount val="1"/>
                <c:pt idx="0">
                  <c:v>I.E.</c:v>
                </c:pt>
              </c:strCache>
            </c:strRef>
          </c:tx>
          <c:spPr>
            <a:ln w="34925" cap="rnd">
              <a:solidFill>
                <a:schemeClr val="accent6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6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Alka Seltzer</c:v>
                </c:pt>
                <c:pt idx="1">
                  <c:v>Alka Extreme</c:v>
                </c:pt>
                <c:pt idx="2">
                  <c:v>Pepto Bismol</c:v>
                </c:pt>
              </c:strCache>
            </c:strRef>
          </c:cat>
          <c:val>
            <c:numRef>
              <c:f>Hoja1!$D$2:$D$4</c:f>
              <c:numCache>
                <c:formatCode>0.00</c:formatCode>
                <c:ptCount val="3"/>
                <c:pt idx="0">
                  <c:v>0.93975903614457834</c:v>
                </c:pt>
                <c:pt idx="1">
                  <c:v>1</c:v>
                </c:pt>
                <c:pt idx="2">
                  <c:v>1.40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0516224"/>
        <c:axId val="350522496"/>
      </c:lineChart>
      <c:catAx>
        <c:axId val="350521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9752"/>
        <c:crosses val="autoZero"/>
        <c:auto val="1"/>
        <c:lblAlgn val="ctr"/>
        <c:lblOffset val="100"/>
        <c:noMultiLvlLbl val="0"/>
      </c:catAx>
      <c:valAx>
        <c:axId val="350519752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21320"/>
        <c:crosses val="autoZero"/>
        <c:crossBetween val="between"/>
      </c:valAx>
      <c:valAx>
        <c:axId val="350522496"/>
        <c:scaling>
          <c:orientation val="minMax"/>
          <c:min val="0"/>
        </c:scaling>
        <c:delete val="0"/>
        <c:axPos val="r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6224"/>
        <c:crosses val="max"/>
        <c:crossBetween val="between"/>
      </c:valAx>
      <c:catAx>
        <c:axId val="3505162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05224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b="1" dirty="0"/>
              <a:t>SEASONA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7.5695866818642696E-2"/>
          <c:y val="0.19662278534839772"/>
          <c:w val="0.92388468586498484"/>
          <c:h val="0.64151234599537454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lka Clasica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tx2"/>
              </a:solidFill>
              <a:ln w="9525">
                <a:solidFill>
                  <a:schemeClr val="tx2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B$2:$B$13</c:f>
              <c:numCache>
                <c:formatCode>\$0,\K</c:formatCode>
                <c:ptCount val="12"/>
                <c:pt idx="0">
                  <c:v>5411.13</c:v>
                </c:pt>
                <c:pt idx="1">
                  <c:v>120664.37450845192</c:v>
                </c:pt>
                <c:pt idx="2">
                  <c:v>198437.96275132688</c:v>
                </c:pt>
                <c:pt idx="3">
                  <c:v>39207</c:v>
                </c:pt>
                <c:pt idx="4">
                  <c:v>384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AC-401A-B387-C3368003BCA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Alka Extreme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C$2:$C$13</c:f>
              <c:numCache>
                <c:formatCode>\$0,\K</c:formatCode>
                <c:ptCount val="12"/>
                <c:pt idx="0">
                  <c:v>0</c:v>
                </c:pt>
                <c:pt idx="1">
                  <c:v>844.66375463931354</c:v>
                </c:pt>
                <c:pt idx="2">
                  <c:v>26120.111735889372</c:v>
                </c:pt>
                <c:pt idx="3">
                  <c:v>44242</c:v>
                </c:pt>
                <c:pt idx="4">
                  <c:v>17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1E0-3F42-93A9-63A20B95FF14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epto Bismol</c:v>
                </c:pt>
              </c:strCache>
            </c:strRef>
          </c:tx>
          <c:spPr>
            <a:ln w="28575" cap="rnd">
              <a:solidFill>
                <a:srgbClr val="DB5CC1"/>
              </a:solidFill>
              <a:round/>
            </a:ln>
            <a:effectLst/>
          </c:spPr>
          <c:marker>
            <c:symbol val="none"/>
          </c:marker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AF88-3A49-952B-82D3DDED1138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AF88-3A49-952B-82D3DDED1138}"/>
              </c:ext>
            </c:extLst>
          </c:dPt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D$2:$D$13</c:f>
              <c:numCache>
                <c:formatCode>\$0,\K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20714.70303592354</c:v>
                </c:pt>
                <c:pt idx="3">
                  <c:v>16305</c:v>
                </c:pt>
                <c:pt idx="4">
                  <c:v>145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F88-3A49-952B-82D3DDED1138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Gelosan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E$2:$E$13</c:f>
              <c:numCache>
                <c:formatCode>\$0,\K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3999.7179146312842</c:v>
                </c:pt>
                <c:pt idx="3">
                  <c:v>2694</c:v>
                </c:pt>
                <c:pt idx="4">
                  <c:v>157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615-DB40-B214-68BFDD9BB62D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Sal Andrews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F$2:$F$13</c:f>
              <c:numCache>
                <c:formatCode>\$0,\K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2951.2088661601283</c:v>
                </c:pt>
                <c:pt idx="3">
                  <c:v>3045</c:v>
                </c:pt>
                <c:pt idx="4">
                  <c:v>5288.5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615-DB40-B214-68BFDD9BB6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3217672"/>
        <c:axId val="312815432"/>
      </c:lineChart>
      <c:dateAx>
        <c:axId val="313217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2815432"/>
        <c:crosses val="autoZero"/>
        <c:auto val="1"/>
        <c:lblOffset val="100"/>
        <c:baseTimeUnit val="months"/>
      </c:dateAx>
      <c:valAx>
        <c:axId val="312815432"/>
        <c:scaling>
          <c:orientation val="minMax"/>
        </c:scaling>
        <c:delete val="0"/>
        <c:axPos val="l"/>
        <c:numFmt formatCode="\$0,\K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3217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</a:rPr>
              <a:t>SOI BY BRAND ($562K) – Mayo YTD</a:t>
            </a:r>
          </a:p>
        </c:rich>
      </c:tx>
      <c:layout>
        <c:manualLayout>
          <c:xMode val="edge"/>
          <c:yMode val="edge"/>
          <c:x val="0.24622198618676994"/>
          <c:y val="3.7193348892062853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22709838592446138"/>
          <c:y val="0.13339409223189086"/>
          <c:w val="0.77290161407553859"/>
          <c:h val="0.825693223986839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Gelosan</c:v>
                </c:pt>
                <c:pt idx="1">
                  <c:v>Sal Andrews</c:v>
                </c:pt>
                <c:pt idx="2">
                  <c:v>Pepto Bismol</c:v>
                </c:pt>
                <c:pt idx="3">
                  <c:v>Alka Extreme</c:v>
                </c:pt>
                <c:pt idx="4">
                  <c:v>Alka Clásica</c:v>
                </c:pt>
              </c:strCache>
            </c:strRef>
          </c:cat>
          <c:val>
            <c:numRef>
              <c:f>Sheet1!$B$2:$B$6</c:f>
              <c:numCache>
                <c:formatCode>0,\K</c:formatCode>
                <c:ptCount val="5"/>
                <c:pt idx="0">
                  <c:v>8264.56</c:v>
                </c:pt>
                <c:pt idx="1">
                  <c:v>11285</c:v>
                </c:pt>
                <c:pt idx="2">
                  <c:v>51556.05</c:v>
                </c:pt>
                <c:pt idx="3">
                  <c:v>89130.49</c:v>
                </c:pt>
                <c:pt idx="4">
                  <c:v>402188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51-41A6-AE7A-FE1BDF8FE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-20"/>
        <c:axId val="881978959"/>
        <c:axId val="881975351"/>
      </c:barChart>
      <c:catAx>
        <c:axId val="88197895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881975351"/>
        <c:crosses val="autoZero"/>
        <c:auto val="1"/>
        <c:lblAlgn val="r"/>
        <c:lblOffset val="100"/>
        <c:noMultiLvlLbl val="0"/>
      </c:catAx>
      <c:valAx>
        <c:axId val="881975351"/>
        <c:scaling>
          <c:orientation val="minMax"/>
        </c:scaling>
        <c:delete val="1"/>
        <c:axPos val="b"/>
        <c:numFmt formatCode="0,\K" sourceLinked="1"/>
        <c:majorTickMark val="none"/>
        <c:minorTickMark val="none"/>
        <c:tickLblPos val="nextTo"/>
        <c:crossAx val="88197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/>
              <a:t>MEDIA MIX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V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7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9D-304E-ABA9-30FF18EBDE68}"/>
                </c:ext>
              </c:extLst>
            </c:dLbl>
            <c:dLbl>
              <c:idx val="1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9D-304E-ABA9-30FF18EBDE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lka Clásica</c:v>
                </c:pt>
                <c:pt idx="1">
                  <c:v>Alka Extreme</c:v>
                </c:pt>
                <c:pt idx="2">
                  <c:v>Pepto Bismol</c:v>
                </c:pt>
                <c:pt idx="3">
                  <c:v>Sal Andrews</c:v>
                </c:pt>
                <c:pt idx="4">
                  <c:v>Gelosan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98</c:v>
                </c:pt>
                <c:pt idx="1">
                  <c:v>0.26</c:v>
                </c:pt>
                <c:pt idx="2">
                  <c:v>0.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5B-448A-8CA7-0258257651B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T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Sheet1!$A$2:$A$6</c:f>
              <c:strCache>
                <c:ptCount val="5"/>
                <c:pt idx="0">
                  <c:v>Alka Clásica</c:v>
                </c:pt>
                <c:pt idx="1">
                  <c:v>Alka Extreme</c:v>
                </c:pt>
                <c:pt idx="2">
                  <c:v>Pepto Bismol</c:v>
                </c:pt>
                <c:pt idx="3">
                  <c:v>Sal Andrews</c:v>
                </c:pt>
                <c:pt idx="4">
                  <c:v>Gelosan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1-895B-448A-8CA7-0258257651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AD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lka Clásica</c:v>
                </c:pt>
                <c:pt idx="1">
                  <c:v>Alka Extreme</c:v>
                </c:pt>
                <c:pt idx="2">
                  <c:v>Pepto Bismol</c:v>
                </c:pt>
                <c:pt idx="3">
                  <c:v>Sal Andrews</c:v>
                </c:pt>
                <c:pt idx="4">
                  <c:v>Gelosan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02</c:v>
                </c:pt>
                <c:pt idx="1">
                  <c:v>0.74</c:v>
                </c:pt>
                <c:pt idx="4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43-3045-AB52-B795B86870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E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lka Clásica</c:v>
                </c:pt>
                <c:pt idx="1">
                  <c:v>Alka Extreme</c:v>
                </c:pt>
                <c:pt idx="2">
                  <c:v>Pepto Bismol</c:v>
                </c:pt>
                <c:pt idx="3">
                  <c:v>Sal Andrews</c:v>
                </c:pt>
                <c:pt idx="4">
                  <c:v>Gelosan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1-0D85-7543-9496-D6D2467A7B1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O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Alka Clásica</c:v>
                </c:pt>
                <c:pt idx="1">
                  <c:v>Alka Extreme</c:v>
                </c:pt>
                <c:pt idx="2">
                  <c:v>Pepto Bismol</c:v>
                </c:pt>
                <c:pt idx="3">
                  <c:v>Sal Andrews</c:v>
                </c:pt>
                <c:pt idx="4">
                  <c:v>Gelosan</c:v>
                </c:pt>
              </c:strCache>
            </c:strRef>
          </c:cat>
          <c:val>
            <c:numRef>
              <c:f>Sheet1!$F$2:$F$6</c:f>
              <c:numCache>
                <c:formatCode>General</c:formatCode>
                <c:ptCount val="5"/>
                <c:pt idx="2" formatCode="0%">
                  <c:v>0.04</c:v>
                </c:pt>
                <c:pt idx="3" formatCode="0%">
                  <c:v>1</c:v>
                </c:pt>
                <c:pt idx="4" formatCode="0%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52F-5D40-8B4A-6E8F8881FD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</a:t>
            </a:r>
            <a:r>
              <a:rPr lang="es-MX" sz="1400" baseline="0" dirty="0"/>
              <a:t> CATEGORY</a:t>
            </a:r>
            <a:endParaRPr lang="es-MX" sz="1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3.5245849948993782E-2"/>
          <c:y val="0.14704455135999536"/>
          <c:w val="0.92831630034931523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ICIA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Extreme</c:v>
                </c:pt>
                <c:pt idx="1">
                  <c:v>Pepto Bismol</c:v>
                </c:pt>
                <c:pt idx="2">
                  <c:v>Alka Clásica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9819999999999998</c:v>
                </c:pt>
                <c:pt idx="1">
                  <c:v>0.41549999999999998</c:v>
                </c:pt>
                <c:pt idx="2">
                  <c:v>0.2288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2D-0148-A58C-F6067A1B63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PORTE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Extreme</c:v>
                </c:pt>
                <c:pt idx="1">
                  <c:v>Pepto Bismol</c:v>
                </c:pt>
                <c:pt idx="2">
                  <c:v>Alka Clásica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 formatCode="0%">
                  <c:v>2.29E-2</c:v>
                </c:pt>
                <c:pt idx="2" formatCode="0%">
                  <c:v>4.5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2D-0148-A58C-F6067A1B63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NTRETEN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Extreme</c:v>
                </c:pt>
                <c:pt idx="1">
                  <c:v>Pepto Bismol</c:v>
                </c:pt>
                <c:pt idx="2">
                  <c:v>Alka Clásica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33289999999999997</c:v>
                </c:pt>
                <c:pt idx="1">
                  <c:v>0.2001</c:v>
                </c:pt>
                <c:pt idx="2">
                  <c:v>0.3817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B2D-0148-A58C-F6067A1B638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OVELA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Extreme</c:v>
                </c:pt>
                <c:pt idx="1">
                  <c:v>Pepto Bismol</c:v>
                </c:pt>
                <c:pt idx="2">
                  <c:v>Alka Clásica</c:v>
                </c:pt>
              </c:strCache>
            </c:strRef>
          </c:cat>
          <c:val>
            <c:numRef>
              <c:f>Sheet1!$E$2:$E$4</c:f>
              <c:numCache>
                <c:formatCode>0%</c:formatCode>
                <c:ptCount val="3"/>
                <c:pt idx="1">
                  <c:v>0.38</c:v>
                </c:pt>
                <c:pt idx="2">
                  <c:v>0.1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2D-0148-A58C-F6067A1B638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TRO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Extreme</c:v>
                </c:pt>
                <c:pt idx="1">
                  <c:v>Pepto Bismol</c:v>
                </c:pt>
                <c:pt idx="2">
                  <c:v>Alka Clásica</c:v>
                </c:pt>
              </c:strCache>
            </c:strRef>
          </c:cat>
          <c:val>
            <c:numRef>
              <c:f>Sheet1!$F$2:$F$4</c:f>
              <c:numCache>
                <c:formatCode>General</c:formatCode>
                <c:ptCount val="3"/>
                <c:pt idx="0" formatCode="0%">
                  <c:v>0.15</c:v>
                </c:pt>
                <c:pt idx="2" formatCode="0%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B2D-0148-A58C-F6067A1B638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937818275085453"/>
          <c:y val="0.83568820555001544"/>
          <c:w val="0.8138375838511237"/>
          <c:h val="7.77885179478440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In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9342-F343-8D8E-0A5F54B3AC29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342-F343-8D8E-0A5F54B3AC29}"/>
              </c:ext>
            </c:extLst>
          </c:dPt>
          <c:dLbls>
            <c:numFmt formatCode="\$#,&quot;M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C$1</c:f>
              <c:strCache>
                <c:ptCount val="2"/>
                <c:pt idx="0">
                  <c:v>2023</c:v>
                </c:pt>
                <c:pt idx="1">
                  <c:v>2024</c:v>
                </c:pt>
              </c:strCache>
            </c:strRef>
          </c:cat>
          <c:val>
            <c:numRef>
              <c:f>Hoja1!$B$2:$C$2</c:f>
              <c:numCache>
                <c:formatCode>\$0,"M"</c:formatCode>
                <c:ptCount val="2"/>
                <c:pt idx="0">
                  <c:v>8022444.959999999</c:v>
                </c:pt>
                <c:pt idx="1">
                  <c:v>82915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42-F343-8D8E-0A5F54B3AC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6"/>
        <c:overlap val="-27"/>
        <c:axId val="385206271"/>
        <c:axId val="385207919"/>
      </c:barChart>
      <c:catAx>
        <c:axId val="38520627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385207919"/>
        <c:crosses val="autoZero"/>
        <c:auto val="1"/>
        <c:lblAlgn val="ctr"/>
        <c:lblOffset val="100"/>
        <c:noMultiLvlLbl val="0"/>
      </c:catAx>
      <c:valAx>
        <c:axId val="385207919"/>
        <c:scaling>
          <c:orientation val="minMax"/>
        </c:scaling>
        <c:delete val="1"/>
        <c:axPos val="l"/>
        <c:numFmt formatCode="\$0,&quot;M&quot;" sourceLinked="1"/>
        <c:majorTickMark val="none"/>
        <c:minorTickMark val="none"/>
        <c:tickLblPos val="nextTo"/>
        <c:crossAx val="38520627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HN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MEDIA TV</a:t>
            </a:r>
            <a:r>
              <a:rPr lang="es-MX" sz="1400" baseline="0" dirty="0"/>
              <a:t> CHANNELS </a:t>
            </a:r>
            <a:r>
              <a:rPr lang="es-MX" sz="1000" baseline="0" dirty="0"/>
              <a:t>(4,987 Grp’s) </a:t>
            </a:r>
            <a:endParaRPr lang="es-MX" sz="1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VC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Extreme</c:v>
                </c:pt>
                <c:pt idx="1">
                  <c:v>Pepto Bismol</c:v>
                </c:pt>
                <c:pt idx="2">
                  <c:v>Alka Clasica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1</c:v>
                </c:pt>
                <c:pt idx="1">
                  <c:v>0.09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AE-ED47-9C50-A0928AF2087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11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Extreme</c:v>
                </c:pt>
                <c:pt idx="1">
                  <c:v>Pepto Bismol</c:v>
                </c:pt>
                <c:pt idx="2">
                  <c:v>Alka Clasica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1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DA-264A-ACD4-FED9E8F93B5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TV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Extreme</c:v>
                </c:pt>
                <c:pt idx="1">
                  <c:v>Pepto Bismol</c:v>
                </c:pt>
                <c:pt idx="2">
                  <c:v>Alka Clasica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1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DA-264A-ACD4-FED9E8F93B5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HCH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Extreme</c:v>
                </c:pt>
                <c:pt idx="1">
                  <c:v>Pepto Bismol</c:v>
                </c:pt>
                <c:pt idx="2">
                  <c:v>Alka Clasica</c:v>
                </c:pt>
              </c:strCache>
            </c:strRef>
          </c:cat>
          <c:val>
            <c:numRef>
              <c:f>Sheet1!$E$2:$E$4</c:f>
              <c:numCache>
                <c:formatCode>0%</c:formatCode>
                <c:ptCount val="3"/>
                <c:pt idx="1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DA-264A-ACD4-FED9E8F93B5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245400514275736"/>
          <c:y val="0.82213353379542553"/>
          <c:w val="0.4980923442061635"/>
          <c:h val="7.77885179478440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SPOT LENGH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1.1503812628431528E-2"/>
          <c:y val="0.14704455135999536"/>
          <c:w val="0.95205851217511228"/>
          <c:h val="0.7341431858058925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'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Clasica</c:v>
                </c:pt>
                <c:pt idx="1">
                  <c:v>Pepto bismol</c:v>
                </c:pt>
                <c:pt idx="2">
                  <c:v>Alka Extreme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 formatCode="0%">
                  <c:v>0.2</c:v>
                </c:pt>
                <c:pt idx="2" formatCode="0%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B6-4331-902C-907B32E793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0'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Clasica</c:v>
                </c:pt>
                <c:pt idx="1">
                  <c:v>Pepto bismol</c:v>
                </c:pt>
                <c:pt idx="2">
                  <c:v>Alka Extreme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1-A0B6-4331-902C-907B32E793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5'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Clasica</c:v>
                </c:pt>
                <c:pt idx="1">
                  <c:v>Pepto bismol</c:v>
                </c:pt>
                <c:pt idx="2">
                  <c:v>Alka Extreme</c:v>
                </c:pt>
              </c:strCache>
            </c:strRef>
          </c:cat>
          <c:val>
            <c:numRef>
              <c:f>Sheet1!$D$2:$D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2-A0B6-4331-902C-907B32E7939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'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Clasica</c:v>
                </c:pt>
                <c:pt idx="1">
                  <c:v>Pepto bismol</c:v>
                </c:pt>
                <c:pt idx="2">
                  <c:v>Alka Extreme</c:v>
                </c:pt>
              </c:strCache>
            </c:strRef>
          </c:cat>
          <c:val>
            <c:numRef>
              <c:f>Sheet1!$E$2:$E$4</c:f>
              <c:numCache>
                <c:formatCode>0%</c:formatCode>
                <c:ptCount val="3"/>
                <c:pt idx="0">
                  <c:v>0.42</c:v>
                </c:pt>
                <c:pt idx="1">
                  <c:v>1</c:v>
                </c:pt>
                <c:pt idx="2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B6-4331-902C-907B32E7939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35'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Clasica</c:v>
                </c:pt>
                <c:pt idx="1">
                  <c:v>Pepto bismol</c:v>
                </c:pt>
                <c:pt idx="2">
                  <c:v>Alka Extreme</c:v>
                </c:pt>
              </c:strCache>
            </c:strRef>
          </c:cat>
          <c:val>
            <c:numRef>
              <c:f>Sheet1!$F$2:$F$4</c:f>
              <c:numCache>
                <c:formatCode>General</c:formatCode>
                <c:ptCount val="3"/>
                <c:pt idx="0" formatCode="0%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0E-6248-8007-EF99848994CC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50'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Alka Clasica</c:v>
                </c:pt>
                <c:pt idx="1">
                  <c:v>Pepto bismol</c:v>
                </c:pt>
                <c:pt idx="2">
                  <c:v>Alka Extreme</c:v>
                </c:pt>
              </c:strCache>
            </c:strRef>
          </c:cat>
          <c:val>
            <c:numRef>
              <c:f>Sheet1!$G$2:$G$4</c:f>
              <c:numCache>
                <c:formatCode>General</c:formatCode>
                <c:ptCount val="3"/>
                <c:pt idx="0" formatCode="0%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0E-6248-8007-EF99848994C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6352644874229483"/>
          <c:y val="0.80789735148574271"/>
          <c:w val="0.6142407677824856"/>
          <c:h val="7.83425493942767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dirty="0">
                <a:solidFill>
                  <a:schemeClr val="tx1"/>
                </a:solidFill>
              </a:rPr>
              <a:t>SOI-SOV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3.8989989460924718E-2"/>
          <c:y val="0.1386697829752874"/>
          <c:w val="0.9288227884557565"/>
          <c:h val="0.679576030319258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OI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1"/>
              <c:layout>
                <c:manualLayout>
                  <c:x val="-3.5690350871197423E-17"/>
                  <c:y val="8.719988135323229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35-3447-AFD3-13DB237B9FA8}"/>
                </c:ext>
              </c:extLst>
            </c:dLbl>
            <c:dLbl>
              <c:idx val="4"/>
              <c:layout>
                <c:manualLayout>
                  <c:x val="-9.7338445006845062E-3"/>
                  <c:y val="4.359994067661614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3</c:f>
              <c:strCache>
                <c:ptCount val="2"/>
                <c:pt idx="0">
                  <c:v>Alka AD</c:v>
                </c:pt>
                <c:pt idx="1">
                  <c:v>Enteroguanil</c:v>
                </c:pt>
              </c:strCache>
            </c:strRef>
          </c:cat>
          <c:val>
            <c:numRef>
              <c:f>Hoja1!$B$2:$B$3</c:f>
              <c:numCache>
                <c:formatCode>0%</c:formatCode>
                <c:ptCount val="2"/>
                <c:pt idx="0">
                  <c:v>0.94</c:v>
                </c:pt>
                <c:pt idx="1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D0-497D-81BA-2AD4B7BE67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O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1.362738230095819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D0-497D-81BA-2AD4B7BE6749}"/>
                </c:ext>
              </c:extLst>
            </c:dLbl>
            <c:dLbl>
              <c:idx val="1"/>
              <c:layout>
                <c:manualLayout>
                  <c:x val="1.3627382300958208E-2"/>
                  <c:y val="-4.359994067661694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3</c:f>
              <c:strCache>
                <c:ptCount val="2"/>
                <c:pt idx="0">
                  <c:v>Alka AD</c:v>
                </c:pt>
                <c:pt idx="1">
                  <c:v>Enteroguanil</c:v>
                </c:pt>
              </c:strCache>
            </c:strRef>
          </c:cat>
          <c:val>
            <c:numRef>
              <c:f>Hoja1!$C$2:$C$3</c:f>
              <c:numCache>
                <c:formatCode>0%</c:formatCode>
                <c:ptCount val="2"/>
                <c:pt idx="0">
                  <c:v>0.93</c:v>
                </c:pt>
                <c:pt idx="1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0521320"/>
        <c:axId val="350519752"/>
      </c:barChart>
      <c:lineChart>
        <c:grouping val="standard"/>
        <c:varyColors val="0"/>
        <c:ser>
          <c:idx val="2"/>
          <c:order val="2"/>
          <c:tx>
            <c:strRef>
              <c:f>Hoja1!$D$1</c:f>
              <c:strCache>
                <c:ptCount val="1"/>
                <c:pt idx="0">
                  <c:v>I.E.</c:v>
                </c:pt>
              </c:strCache>
            </c:strRef>
          </c:tx>
          <c:spPr>
            <a:ln w="34925" cap="rnd">
              <a:solidFill>
                <a:schemeClr val="accent6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6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3</c:f>
              <c:strCache>
                <c:ptCount val="2"/>
                <c:pt idx="0">
                  <c:v>Alka AD</c:v>
                </c:pt>
                <c:pt idx="1">
                  <c:v>Enteroguanil</c:v>
                </c:pt>
              </c:strCache>
            </c:strRef>
          </c:cat>
          <c:val>
            <c:numRef>
              <c:f>Hoja1!$D$2:$D$3</c:f>
              <c:numCache>
                <c:formatCode>0.00</c:formatCode>
                <c:ptCount val="2"/>
                <c:pt idx="0">
                  <c:v>0.98936170212765973</c:v>
                </c:pt>
                <c:pt idx="1">
                  <c:v>1.1666666666666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0516224"/>
        <c:axId val="350522496"/>
      </c:lineChart>
      <c:catAx>
        <c:axId val="350521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9752"/>
        <c:crosses val="autoZero"/>
        <c:auto val="1"/>
        <c:lblAlgn val="ctr"/>
        <c:lblOffset val="100"/>
        <c:noMultiLvlLbl val="0"/>
      </c:catAx>
      <c:valAx>
        <c:axId val="350519752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21320"/>
        <c:crosses val="autoZero"/>
        <c:crossBetween val="between"/>
      </c:valAx>
      <c:valAx>
        <c:axId val="350522496"/>
        <c:scaling>
          <c:orientation val="minMax"/>
          <c:min val="0"/>
        </c:scaling>
        <c:delete val="0"/>
        <c:axPos val="r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6224"/>
        <c:crosses val="max"/>
        <c:crossBetween val="between"/>
      </c:valAx>
      <c:catAx>
        <c:axId val="3505162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05224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b="1" dirty="0"/>
              <a:t>SEASONA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7.5695866818642696E-2"/>
          <c:y val="0.19662278534839772"/>
          <c:w val="0.92388468586498484"/>
          <c:h val="0.64151234599537454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lka AD</c:v>
                </c:pt>
              </c:strCache>
            </c:strRef>
          </c:tx>
          <c:spPr>
            <a:ln w="28575" cap="rnd">
              <a:solidFill>
                <a:srgbClr val="00B050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26</c:v>
                </c:pt>
                <c:pt idx="9">
                  <c:v>44856</c:v>
                </c:pt>
                <c:pt idx="10">
                  <c:v>44887</c:v>
                </c:pt>
                <c:pt idx="11">
                  <c:v>44917</c:v>
                </c:pt>
              </c:numCache>
            </c:numRef>
          </c:cat>
          <c:val>
            <c:numRef>
              <c:f>Hoja1!$B$2:$B$13</c:f>
              <c:numCache>
                <c:formatCode>\$0,\k</c:formatCode>
                <c:ptCount val="12"/>
                <c:pt idx="0">
                  <c:v>7964.5355026692714</c:v>
                </c:pt>
                <c:pt idx="1">
                  <c:v>12672.873181372139</c:v>
                </c:pt>
                <c:pt idx="2">
                  <c:v>4277.8089631627354</c:v>
                </c:pt>
                <c:pt idx="3">
                  <c:v>2457</c:v>
                </c:pt>
                <c:pt idx="4">
                  <c:v>154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AC-401A-B387-C3368003BCA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Tap O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26</c:v>
                </c:pt>
                <c:pt idx="9">
                  <c:v>44856</c:v>
                </c:pt>
                <c:pt idx="10">
                  <c:v>44887</c:v>
                </c:pt>
                <c:pt idx="11">
                  <c:v>44917</c:v>
                </c:pt>
              </c:numCache>
            </c:numRef>
          </c:cat>
          <c:val>
            <c:numRef>
              <c:f>Hoja1!$C$2:$C$13</c:f>
              <c:numCache>
                <c:formatCode>\$0,\k</c:formatCode>
                <c:ptCount val="12"/>
                <c:pt idx="0">
                  <c:v>115</c:v>
                </c:pt>
                <c:pt idx="1">
                  <c:v>192</c:v>
                </c:pt>
                <c:pt idx="2">
                  <c:v>260</c:v>
                </c:pt>
                <c:pt idx="3">
                  <c:v>257</c:v>
                </c:pt>
                <c:pt idx="4">
                  <c:v>1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DAC-401A-B387-C3368003BCA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Enteroguanil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26</c:v>
                </c:pt>
                <c:pt idx="9">
                  <c:v>44856</c:v>
                </c:pt>
                <c:pt idx="10">
                  <c:v>44887</c:v>
                </c:pt>
                <c:pt idx="11">
                  <c:v>44917</c:v>
                </c:pt>
              </c:numCache>
            </c:numRef>
          </c:cat>
          <c:val>
            <c:numRef>
              <c:f>Hoja1!$D$2:$D$13</c:f>
              <c:numCache>
                <c:formatCode>\$0,\k</c:formatCode>
                <c:ptCount val="12"/>
                <c:pt idx="0">
                  <c:v>463</c:v>
                </c:pt>
                <c:pt idx="1">
                  <c:v>314</c:v>
                </c:pt>
                <c:pt idx="2">
                  <c:v>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52-0C49-A50C-317C4294F141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Veloz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562</c:v>
                </c:pt>
                <c:pt idx="1">
                  <c:v>44593</c:v>
                </c:pt>
                <c:pt idx="2">
                  <c:v>44621</c:v>
                </c:pt>
                <c:pt idx="3">
                  <c:v>44652</c:v>
                </c:pt>
                <c:pt idx="4">
                  <c:v>44682</c:v>
                </c:pt>
                <c:pt idx="5">
                  <c:v>44713</c:v>
                </c:pt>
                <c:pt idx="6">
                  <c:v>44743</c:v>
                </c:pt>
                <c:pt idx="7">
                  <c:v>44774</c:v>
                </c:pt>
                <c:pt idx="8">
                  <c:v>44826</c:v>
                </c:pt>
                <c:pt idx="9">
                  <c:v>44856</c:v>
                </c:pt>
                <c:pt idx="10">
                  <c:v>44887</c:v>
                </c:pt>
                <c:pt idx="11">
                  <c:v>44917</c:v>
                </c:pt>
              </c:numCache>
            </c:numRef>
          </c:cat>
          <c:val>
            <c:numRef>
              <c:f>Hoja1!$E$2:$E$13</c:f>
              <c:numCache>
                <c:formatCode>General</c:formatCode>
                <c:ptCount val="12"/>
                <c:pt idx="0" formatCode="\$0,\k">
                  <c:v>71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BF3-194A-8AD2-1BEA39F1C7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3217672"/>
        <c:axId val="312815432"/>
      </c:lineChart>
      <c:dateAx>
        <c:axId val="313217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2815432"/>
        <c:crosses val="autoZero"/>
        <c:auto val="1"/>
        <c:lblOffset val="100"/>
        <c:baseTimeUnit val="months"/>
      </c:dateAx>
      <c:valAx>
        <c:axId val="312815432"/>
        <c:scaling>
          <c:orientation val="minMax"/>
        </c:scaling>
        <c:delete val="0"/>
        <c:axPos val="l"/>
        <c:numFmt formatCode="\$0,\k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3217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</a:rPr>
              <a:t>SOI BY BRAND ($45K) – Mayo YTD</a:t>
            </a:r>
          </a:p>
        </c:rich>
      </c:tx>
      <c:layout>
        <c:manualLayout>
          <c:xMode val="edge"/>
          <c:yMode val="edge"/>
          <c:x val="0.24622198618676994"/>
          <c:y val="3.7193348892062853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33284411823287441"/>
          <c:y val="0.13339409223189086"/>
          <c:w val="0.66715588176712559"/>
          <c:h val="0.825693223986839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Veloz</c:v>
                </c:pt>
                <c:pt idx="1">
                  <c:v>Enteroguanil</c:v>
                </c:pt>
                <c:pt idx="2">
                  <c:v>Tap On</c:v>
                </c:pt>
                <c:pt idx="3">
                  <c:v>Alka AD</c:v>
                </c:pt>
              </c:strCache>
            </c:strRef>
          </c:cat>
          <c:val>
            <c:numRef>
              <c:f>Sheet1!$B$2:$B$5</c:f>
              <c:numCache>
                <c:formatCode>0,\K</c:formatCode>
                <c:ptCount val="4"/>
                <c:pt idx="0">
                  <c:v>711</c:v>
                </c:pt>
                <c:pt idx="1">
                  <c:v>819</c:v>
                </c:pt>
                <c:pt idx="2">
                  <c:v>939</c:v>
                </c:pt>
                <c:pt idx="3">
                  <c:v>427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51-41A6-AE7A-FE1BDF8FE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-20"/>
        <c:axId val="881978959"/>
        <c:axId val="881975351"/>
      </c:barChart>
      <c:catAx>
        <c:axId val="881978959"/>
        <c:scaling>
          <c:orientation val="minMax"/>
        </c:scaling>
        <c:delete val="0"/>
        <c:axPos val="l"/>
        <c:numFmt formatCode="General" sourceLinked="1"/>
        <c:majorTickMark val="cross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0"/>
          <a:lstStyle/>
          <a:p>
            <a:pPr algn="just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881975351"/>
        <c:crosses val="autoZero"/>
        <c:auto val="1"/>
        <c:lblAlgn val="r"/>
        <c:lblOffset val="100"/>
        <c:noMultiLvlLbl val="0"/>
      </c:catAx>
      <c:valAx>
        <c:axId val="881975351"/>
        <c:scaling>
          <c:orientation val="minMax"/>
        </c:scaling>
        <c:delete val="1"/>
        <c:axPos val="b"/>
        <c:numFmt formatCode="0,\K" sourceLinked="1"/>
        <c:majorTickMark val="none"/>
        <c:minorTickMark val="none"/>
        <c:tickLblPos val="nextTo"/>
        <c:crossAx val="88197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/>
              <a:t>MEDIA MIX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V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7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9D-304E-ABA9-30FF18EBDE68}"/>
                </c:ext>
              </c:extLst>
            </c:dLbl>
            <c:dLbl>
              <c:idx val="1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9D-304E-ABA9-30FF18EBDE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Alka AD</c:v>
                </c:pt>
                <c:pt idx="1">
                  <c:v>Tap On</c:v>
                </c:pt>
                <c:pt idx="2">
                  <c:v>Enteroguanil</c:v>
                </c:pt>
                <c:pt idx="3">
                  <c:v>Veloz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 formatCode="0%">
                  <c:v>0.42</c:v>
                </c:pt>
                <c:pt idx="2" formatCode="0%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5B-448A-8CA7-0258257651B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T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Alka AD</c:v>
                </c:pt>
                <c:pt idx="1">
                  <c:v>Tap On</c:v>
                </c:pt>
                <c:pt idx="2">
                  <c:v>Enteroguanil</c:v>
                </c:pt>
                <c:pt idx="3">
                  <c:v>Veloz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1-895B-448A-8CA7-0258257651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AD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Alka AD</c:v>
                </c:pt>
                <c:pt idx="1">
                  <c:v>Tap On</c:v>
                </c:pt>
                <c:pt idx="2">
                  <c:v>Enteroguanil</c:v>
                </c:pt>
                <c:pt idx="3">
                  <c:v>Veloz</c:v>
                </c:pt>
              </c:strCache>
            </c:strRef>
          </c:cat>
          <c:val>
            <c:numRef>
              <c:f>Sheet1!$D$2:$D$5</c:f>
              <c:numCache>
                <c:formatCode>0%</c:formatCode>
                <c:ptCount val="4"/>
                <c:pt idx="0">
                  <c:v>0.57999999999999996</c:v>
                </c:pt>
                <c:pt idx="1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43-3045-AB52-B795B86870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E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Alka AD</c:v>
                </c:pt>
                <c:pt idx="1">
                  <c:v>Tap On</c:v>
                </c:pt>
                <c:pt idx="2">
                  <c:v>Enteroguanil</c:v>
                </c:pt>
                <c:pt idx="3">
                  <c:v>Veloz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1-DB43-3045-AB52-B795B8687022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O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Alka AD</c:v>
                </c:pt>
                <c:pt idx="1">
                  <c:v>Tap On</c:v>
                </c:pt>
                <c:pt idx="2">
                  <c:v>Enteroguanil</c:v>
                </c:pt>
                <c:pt idx="3">
                  <c:v>Veloz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</c:numCache>
            </c:numRef>
          </c:val>
          <c:extLst>
            <c:ext xmlns:c16="http://schemas.microsoft.com/office/drawing/2014/chart" uri="{C3380CC4-5D6E-409C-BE32-E72D297353CC}">
              <c16:uniqueId val="{00000002-DB43-3045-AB52-B795B868702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338381541210501"/>
          <c:y val="0.87717419194821378"/>
          <c:w val="0.29323236917579004"/>
          <c:h val="7.07997525689959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CHANNEL (714</a:t>
            </a:r>
            <a:r>
              <a:rPr lang="es-MX" sz="1400" baseline="0" dirty="0"/>
              <a:t> Trp’s)</a:t>
            </a:r>
            <a:endParaRPr lang="es-MX" sz="1400" dirty="0"/>
          </a:p>
        </c:rich>
      </c:tx>
      <c:layout>
        <c:manualLayout>
          <c:xMode val="edge"/>
          <c:yMode val="edge"/>
          <c:x val="0.21417724318936218"/>
          <c:y val="3.6145791345573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VC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Enteroguanil</c:v>
                </c:pt>
                <c:pt idx="1">
                  <c:v>Alka AD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1</c:v>
                </c:pt>
                <c:pt idx="1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9EC-AC41-B672-BEFE07F74E6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C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Enteroguanil</c:v>
                </c:pt>
                <c:pt idx="1">
                  <c:v>Alka AD</c:v>
                </c:pt>
              </c:strCache>
            </c:strRef>
          </c:cat>
          <c:val>
            <c:numRef>
              <c:f>Sheet1!$C$2:$C$3</c:f>
              <c:numCache>
                <c:formatCode>0%</c:formatCode>
                <c:ptCount val="2"/>
                <c:pt idx="1">
                  <c:v>0.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9EC-AC41-B672-BEFE07F74E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b"/>
        <c:numFmt formatCode="0%" sourceLinked="1"/>
        <c:majorTickMark val="out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9896321482806978"/>
          <c:y val="0.85443812327920599"/>
          <c:w val="0.793833848634657"/>
          <c:h val="7.77885179478440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SPOT LENGH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1.1503812628431528E-2"/>
          <c:y val="0.14704455135999536"/>
          <c:w val="0.95205851217511228"/>
          <c:h val="0.7341431858058925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'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lka Ad</c:v>
                </c:pt>
                <c:pt idx="1">
                  <c:v>Enteroguanil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745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B6-4331-902C-907B32E793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'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lka Ad</c:v>
                </c:pt>
                <c:pt idx="1">
                  <c:v>Enteroguanil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 formatCode="0%">
                  <c:v>0.62549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B6-4331-902C-907B32E7939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7.6993562884099184E-2"/>
          <c:y val="0.85340139113373492"/>
          <c:w val="0.87177495798762539"/>
          <c:h val="7.83425493942767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CATEGOR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ICIA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lka Ad</c:v>
                </c:pt>
                <c:pt idx="1">
                  <c:v>Enteroguanil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F3-6040-AEB6-03F67499D84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NTRETENIMIENTO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lka Ad</c:v>
                </c:pt>
                <c:pt idx="1">
                  <c:v>Enteroguanil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 formatCode="0%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5F3-6040-AEB6-03F67499D84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VELAS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lka Ad</c:v>
                </c:pt>
                <c:pt idx="1">
                  <c:v>Enteroguanil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2-D5F3-6040-AEB6-03F67499D84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OTRO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B6A-5742-8D7C-AC16F8DDB0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Alka Ad</c:v>
                </c:pt>
                <c:pt idx="1">
                  <c:v>Enteroguanil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</c:numCache>
            </c:numRef>
          </c:val>
          <c:extLst>
            <c:ext xmlns:c16="http://schemas.microsoft.com/office/drawing/2014/chart" uri="{C3380CC4-5D6E-409C-BE32-E72D297353CC}">
              <c16:uniqueId val="{00000001-CB6A-5742-8D7C-AC16F8DDB0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20616615136534305"/>
          <c:y val="0.85443812327920599"/>
          <c:w val="0.793833848634657"/>
          <c:h val="7.77885179478440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dirty="0">
                <a:solidFill>
                  <a:schemeClr val="tx1"/>
                </a:solidFill>
              </a:rPr>
              <a:t>SOI-SOV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3.8989989460924718E-2"/>
          <c:y val="0.1386697829752874"/>
          <c:w val="0.9288227884557565"/>
          <c:h val="0.679576030319258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OI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4"/>
              <c:layout>
                <c:manualLayout>
                  <c:x val="-9.7338445006845062E-3"/>
                  <c:y val="4.359994067661614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D0-497D-81BA-2AD4B7BE67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O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1.362738230095819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Hoja1!$C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0521320"/>
        <c:axId val="350519752"/>
      </c:barChart>
      <c:lineChart>
        <c:grouping val="standard"/>
        <c:varyColors val="0"/>
        <c:ser>
          <c:idx val="2"/>
          <c:order val="2"/>
          <c:tx>
            <c:strRef>
              <c:f>Hoja1!$D$1</c:f>
              <c:strCache>
                <c:ptCount val="1"/>
                <c:pt idx="0">
                  <c:v>I.E.</c:v>
                </c:pt>
              </c:strCache>
            </c:strRef>
          </c:tx>
          <c:spPr>
            <a:ln w="34925" cap="rnd">
              <a:solidFill>
                <a:schemeClr val="accent6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6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Hoja1!$D$2</c:f>
              <c:numCache>
                <c:formatCode>0.00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0516224"/>
        <c:axId val="350522496"/>
      </c:lineChart>
      <c:catAx>
        <c:axId val="350521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9752"/>
        <c:crosses val="autoZero"/>
        <c:auto val="1"/>
        <c:lblAlgn val="ctr"/>
        <c:lblOffset val="100"/>
        <c:noMultiLvlLbl val="0"/>
      </c:catAx>
      <c:valAx>
        <c:axId val="350519752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21320"/>
        <c:crosses val="autoZero"/>
        <c:crossBetween val="between"/>
      </c:valAx>
      <c:valAx>
        <c:axId val="350522496"/>
        <c:scaling>
          <c:orientation val="minMax"/>
          <c:min val="0"/>
        </c:scaling>
        <c:delete val="0"/>
        <c:axPos val="r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6224"/>
        <c:crosses val="max"/>
        <c:crossBetween val="between"/>
      </c:valAx>
      <c:catAx>
        <c:axId val="3505162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05224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/>
              <a:t>MEDIA MIX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V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7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5CD-B543-ABEC-EF10969B2B75}"/>
                </c:ext>
              </c:extLst>
            </c:dLbl>
            <c:dLbl>
              <c:idx val="1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5CD-B543-ABEC-EF10969B2B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Vitaflenaco</c:v>
                </c:pt>
                <c:pt idx="1">
                  <c:v>X Ray Dol</c:v>
                </c:pt>
                <c:pt idx="2">
                  <c:v>Aliviol Migraña</c:v>
                </c:pt>
                <c:pt idx="3">
                  <c:v>Dolo Neurobión</c:v>
                </c:pt>
                <c:pt idx="4">
                  <c:v>Delor Flex</c:v>
                </c:pt>
                <c:pt idx="5">
                  <c:v>Iboprodol</c:v>
                </c:pt>
                <c:pt idx="6">
                  <c:v>Delor Extraf</c:v>
                </c:pt>
                <c:pt idx="7">
                  <c:v>Dolodol</c:v>
                </c:pt>
                <c:pt idx="8">
                  <c:v>Aliviol Flex</c:v>
                </c:pt>
                <c:pt idx="9">
                  <c:v>Milagrosa</c:v>
                </c:pt>
                <c:pt idx="10">
                  <c:v>Acet Bayer</c:v>
                </c:pt>
                <c:pt idx="11">
                  <c:v>Aleve</c:v>
                </c:pt>
                <c:pt idx="12">
                  <c:v>Dorival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98292547457086343</c:v>
                </c:pt>
                <c:pt idx="1">
                  <c:v>1</c:v>
                </c:pt>
                <c:pt idx="2">
                  <c:v>0.1</c:v>
                </c:pt>
                <c:pt idx="3">
                  <c:v>0.93</c:v>
                </c:pt>
                <c:pt idx="4">
                  <c:v>1</c:v>
                </c:pt>
                <c:pt idx="5">
                  <c:v>0.67</c:v>
                </c:pt>
                <c:pt idx="6">
                  <c:v>1</c:v>
                </c:pt>
                <c:pt idx="7">
                  <c:v>1</c:v>
                </c:pt>
                <c:pt idx="8">
                  <c:v>0.05</c:v>
                </c:pt>
                <c:pt idx="10">
                  <c:v>0.96</c:v>
                </c:pt>
                <c:pt idx="11">
                  <c:v>0.34</c:v>
                </c:pt>
                <c:pt idx="12">
                  <c:v>0.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5CD-B543-ABEC-EF10969B2B7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T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Vitaflenaco</c:v>
                </c:pt>
                <c:pt idx="1">
                  <c:v>X Ray Dol</c:v>
                </c:pt>
                <c:pt idx="2">
                  <c:v>Aliviol Migraña</c:v>
                </c:pt>
                <c:pt idx="3">
                  <c:v>Dolo Neurobión</c:v>
                </c:pt>
                <c:pt idx="4">
                  <c:v>Delor Flex</c:v>
                </c:pt>
                <c:pt idx="5">
                  <c:v>Iboprodol</c:v>
                </c:pt>
                <c:pt idx="6">
                  <c:v>Delor Extraf</c:v>
                </c:pt>
                <c:pt idx="7">
                  <c:v>Dolodol</c:v>
                </c:pt>
                <c:pt idx="8">
                  <c:v>Aliviol Flex</c:v>
                </c:pt>
                <c:pt idx="9">
                  <c:v>Milagrosa</c:v>
                </c:pt>
                <c:pt idx="10">
                  <c:v>Acet Bayer</c:v>
                </c:pt>
                <c:pt idx="11">
                  <c:v>Aleve</c:v>
                </c:pt>
                <c:pt idx="12">
                  <c:v>Dorival</c:v>
                </c:pt>
              </c:strCache>
            </c:strRef>
          </c:cat>
          <c:val>
            <c:numRef>
              <c:f>Sheet1!$C$2:$C$14</c:f>
              <c:numCache>
                <c:formatCode>0%</c:formatCode>
                <c:ptCount val="13"/>
                <c:pt idx="0">
                  <c:v>0.01</c:v>
                </c:pt>
                <c:pt idx="3">
                  <c:v>0.01</c:v>
                </c:pt>
                <c:pt idx="12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5CD-B543-ABEC-EF10969B2B75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AD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Vitaflenaco</c:v>
                </c:pt>
                <c:pt idx="1">
                  <c:v>X Ray Dol</c:v>
                </c:pt>
                <c:pt idx="2">
                  <c:v>Aliviol Migraña</c:v>
                </c:pt>
                <c:pt idx="3">
                  <c:v>Dolo Neurobión</c:v>
                </c:pt>
                <c:pt idx="4">
                  <c:v>Delor Flex</c:v>
                </c:pt>
                <c:pt idx="5">
                  <c:v>Iboprodol</c:v>
                </c:pt>
                <c:pt idx="6">
                  <c:v>Delor Extraf</c:v>
                </c:pt>
                <c:pt idx="7">
                  <c:v>Dolodol</c:v>
                </c:pt>
                <c:pt idx="8">
                  <c:v>Aliviol Flex</c:v>
                </c:pt>
                <c:pt idx="9">
                  <c:v>Milagrosa</c:v>
                </c:pt>
                <c:pt idx="10">
                  <c:v>Acet Bayer</c:v>
                </c:pt>
                <c:pt idx="11">
                  <c:v>Aleve</c:v>
                </c:pt>
                <c:pt idx="12">
                  <c:v>Dorival</c:v>
                </c:pt>
              </c:strCache>
            </c:strRef>
          </c:cat>
          <c:val>
            <c:numRef>
              <c:f>Sheet1!$D$2:$D$14</c:f>
              <c:numCache>
                <c:formatCode>0%</c:formatCode>
                <c:ptCount val="13"/>
                <c:pt idx="0">
                  <c:v>8.6612744539264295E-3</c:v>
                </c:pt>
                <c:pt idx="2">
                  <c:v>0.88</c:v>
                </c:pt>
                <c:pt idx="3">
                  <c:v>0.06</c:v>
                </c:pt>
                <c:pt idx="5">
                  <c:v>0.26</c:v>
                </c:pt>
                <c:pt idx="8">
                  <c:v>0.95</c:v>
                </c:pt>
                <c:pt idx="9">
                  <c:v>1</c:v>
                </c:pt>
                <c:pt idx="10">
                  <c:v>0.04</c:v>
                </c:pt>
                <c:pt idx="11">
                  <c:v>0.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5CD-B543-ABEC-EF10969B2B75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E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5CD-B543-ABEC-EF10969B2B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Vitaflenaco</c:v>
                </c:pt>
                <c:pt idx="1">
                  <c:v>X Ray Dol</c:v>
                </c:pt>
                <c:pt idx="2">
                  <c:v>Aliviol Migraña</c:v>
                </c:pt>
                <c:pt idx="3">
                  <c:v>Dolo Neurobión</c:v>
                </c:pt>
                <c:pt idx="4">
                  <c:v>Delor Flex</c:v>
                </c:pt>
                <c:pt idx="5">
                  <c:v>Iboprodol</c:v>
                </c:pt>
                <c:pt idx="6">
                  <c:v>Delor Extraf</c:v>
                </c:pt>
                <c:pt idx="7">
                  <c:v>Dolodol</c:v>
                </c:pt>
                <c:pt idx="8">
                  <c:v>Aliviol Flex</c:v>
                </c:pt>
                <c:pt idx="9">
                  <c:v>Milagrosa</c:v>
                </c:pt>
                <c:pt idx="10">
                  <c:v>Acet Bayer</c:v>
                </c:pt>
                <c:pt idx="11">
                  <c:v>Aleve</c:v>
                </c:pt>
                <c:pt idx="12">
                  <c:v>Dorival</c:v>
                </c:pt>
              </c:strCache>
            </c:strRef>
          </c:cat>
          <c:val>
            <c:numRef>
              <c:f>Sheet1!$E$2:$E$14</c:f>
              <c:numCache>
                <c:formatCode>0%</c:formatCode>
                <c:ptCount val="13"/>
              </c:numCache>
            </c:numRef>
          </c:val>
          <c:extLst>
            <c:ext xmlns:c16="http://schemas.microsoft.com/office/drawing/2014/chart" uri="{C3380CC4-5D6E-409C-BE32-E72D297353CC}">
              <c16:uniqueId val="{00000006-95CD-B543-ABEC-EF10969B2B7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O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5CD-B543-ABEC-EF10969B2B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Vitaflenaco</c:v>
                </c:pt>
                <c:pt idx="1">
                  <c:v>X Ray Dol</c:v>
                </c:pt>
                <c:pt idx="2">
                  <c:v>Aliviol Migraña</c:v>
                </c:pt>
                <c:pt idx="3">
                  <c:v>Dolo Neurobión</c:v>
                </c:pt>
                <c:pt idx="4">
                  <c:v>Delor Flex</c:v>
                </c:pt>
                <c:pt idx="5">
                  <c:v>Iboprodol</c:v>
                </c:pt>
                <c:pt idx="6">
                  <c:v>Delor Extraf</c:v>
                </c:pt>
                <c:pt idx="7">
                  <c:v>Dolodol</c:v>
                </c:pt>
                <c:pt idx="8">
                  <c:v>Aliviol Flex</c:v>
                </c:pt>
                <c:pt idx="9">
                  <c:v>Milagrosa</c:v>
                </c:pt>
                <c:pt idx="10">
                  <c:v>Acet Bayer</c:v>
                </c:pt>
                <c:pt idx="11">
                  <c:v>Aleve</c:v>
                </c:pt>
                <c:pt idx="12">
                  <c:v>Dorival</c:v>
                </c:pt>
              </c:strCache>
            </c:strRef>
          </c:cat>
          <c:val>
            <c:numRef>
              <c:f>Sheet1!$F$2:$F$14</c:f>
              <c:numCache>
                <c:formatCode>0.00%</c:formatCode>
                <c:ptCount val="13"/>
                <c:pt idx="2" formatCode="0%">
                  <c:v>0.02</c:v>
                </c:pt>
                <c:pt idx="5" formatCode="0%">
                  <c:v>7.454504263709746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5CD-B543-ABEC-EF10969B2B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5768819103022359"/>
          <c:y val="0.86771490913316096"/>
          <c:w val="0.29323236917579004"/>
          <c:h val="7.079975256899596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b="1" dirty="0"/>
              <a:t>SEASONA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7.5695866818642696E-2"/>
          <c:y val="0.19662278534839772"/>
          <c:w val="0.92388468586498484"/>
          <c:h val="0.64151234599537454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anesten V</c:v>
                </c:pt>
              </c:strCache>
            </c:strRef>
          </c:tx>
          <c:spPr>
            <a:ln w="28575" cap="rnd">
              <a:solidFill>
                <a:srgbClr val="DB5CC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B5CC1"/>
              </a:solidFill>
              <a:ln w="9525">
                <a:solidFill>
                  <a:srgbClr val="DB5CC1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B$2:$B$13</c:f>
              <c:numCache>
                <c:formatCode>\$0,\K</c:formatCode>
                <c:ptCount val="12"/>
                <c:pt idx="0">
                  <c:v>13742.46383853531</c:v>
                </c:pt>
                <c:pt idx="1">
                  <c:v>3816.7338983051595</c:v>
                </c:pt>
                <c:pt idx="2">
                  <c:v>16358.873259491858</c:v>
                </c:pt>
                <c:pt idx="3">
                  <c:v>677</c:v>
                </c:pt>
                <c:pt idx="4">
                  <c:v>1814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AC-401A-B387-C3368003BC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3217672"/>
        <c:axId val="312815432"/>
      </c:lineChart>
      <c:dateAx>
        <c:axId val="313217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2815432"/>
        <c:crosses val="autoZero"/>
        <c:auto val="1"/>
        <c:lblOffset val="100"/>
        <c:baseTimeUnit val="months"/>
      </c:dateAx>
      <c:valAx>
        <c:axId val="312815432"/>
        <c:scaling>
          <c:orientation val="minMax"/>
        </c:scaling>
        <c:delete val="0"/>
        <c:axPos val="l"/>
        <c:numFmt formatCode="\$0,\K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3217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</a:rPr>
              <a:t>SOI BY BRAND ($52K) – Mayo YTD</a:t>
            </a:r>
          </a:p>
        </c:rich>
      </c:tx>
      <c:layout>
        <c:manualLayout>
          <c:xMode val="edge"/>
          <c:yMode val="edge"/>
          <c:x val="0.24622198618676994"/>
          <c:y val="3.7193348892062853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22709838592446138"/>
          <c:y val="0.13339409223189086"/>
          <c:w val="0.77290161407553859"/>
          <c:h val="0.825693223986839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B$2</c:f>
              <c:numCache>
                <c:formatCode>0,\K</c:formatCode>
                <c:ptCount val="1"/>
                <c:pt idx="0">
                  <c:v>527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51-41A6-AE7A-FE1BDF8FE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-20"/>
        <c:axId val="881978959"/>
        <c:axId val="881975351"/>
      </c:barChart>
      <c:catAx>
        <c:axId val="88197895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881975351"/>
        <c:crosses val="autoZero"/>
        <c:auto val="1"/>
        <c:lblAlgn val="r"/>
        <c:lblOffset val="100"/>
        <c:noMultiLvlLbl val="0"/>
      </c:catAx>
      <c:valAx>
        <c:axId val="881975351"/>
        <c:scaling>
          <c:orientation val="minMax"/>
        </c:scaling>
        <c:delete val="1"/>
        <c:axPos val="b"/>
        <c:numFmt formatCode="0,\K" sourceLinked="1"/>
        <c:majorTickMark val="none"/>
        <c:minorTickMark val="none"/>
        <c:tickLblPos val="nextTo"/>
        <c:crossAx val="88197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/>
              <a:t>MEDIA MIX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V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7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9D-304E-ABA9-30FF18EBDE68}"/>
                </c:ext>
              </c:extLst>
            </c:dLbl>
            <c:dLbl>
              <c:idx val="1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9D-304E-ABA9-30FF18EBDE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5B-448A-8CA7-0258257651B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T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895B-448A-8CA7-0258257651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AD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0-DB43-3045-AB52-B795B86870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E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0D85-7543-9496-D6D2467A7B1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O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C52F-5D40-8B4A-6E8F8881FD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</a:t>
            </a:r>
            <a:r>
              <a:rPr lang="es-MX" sz="1400" baseline="0" dirty="0"/>
              <a:t> CATEGORY</a:t>
            </a:r>
            <a:endParaRPr lang="es-MX" sz="1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3.5245849948993782E-2"/>
          <c:y val="0.14704455135999536"/>
          <c:w val="0.92831630034931523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ICIA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8B2D-0148-A58C-F6067A1B63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PORTE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575059133495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2D-0148-A58C-F6067A1B63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NTRETEN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42488612286702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B2D-0148-A58C-F6067A1B638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OVELA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8B2D-0148-A58C-F6067A1B638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TRO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8B2D-0148-A58C-F6067A1B638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598463300312617"/>
          <c:y val="0.78598774244985214"/>
          <c:w val="0.8138375838511237"/>
          <c:h val="7.77885179478440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4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MEDIA TV</a:t>
            </a:r>
            <a:r>
              <a:rPr lang="es-MX" sz="1400" baseline="0" dirty="0"/>
              <a:t> CHANNELS </a:t>
            </a:r>
            <a:r>
              <a:rPr lang="es-MX" sz="1000" baseline="0" dirty="0"/>
              <a:t>(2,692 Grp’s) </a:t>
            </a:r>
            <a:endParaRPr lang="es-MX" sz="1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VC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575059133495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AE-ED47-9C50-A0928AF2087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C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42488612286702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9E-B641-8C80-101492BDF5F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245400514275736"/>
          <c:y val="0.76339662285886878"/>
          <c:w val="0.25064810072469318"/>
          <c:h val="7.77885179478440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4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SPOT LENGH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1.1503812628431528E-2"/>
          <c:y val="0.14704455135999536"/>
          <c:w val="0.95205851217511228"/>
          <c:h val="0.7341431858058925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'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3373271378877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B6-4331-902C-907B32E793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0'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A0B6-4331-902C-907B32E793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5'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A0B6-4331-902C-907B32E7939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'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662672862112276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0B6-4331-902C-907B32E7939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367356377665384E-2"/>
          <c:y val="0.77149411976734894"/>
          <c:w val="0.94529219429060596"/>
          <c:h val="7.83425493942767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4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dirty="0">
                <a:solidFill>
                  <a:schemeClr val="tx1"/>
                </a:solidFill>
              </a:rPr>
              <a:t>SOI-SOV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3.8989989460924718E-2"/>
          <c:y val="0.1386697829752874"/>
          <c:w val="0.9288227884557565"/>
          <c:h val="0.679576030319258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OI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4"/>
              <c:layout>
                <c:manualLayout>
                  <c:x val="-9.7338445006845062E-3"/>
                  <c:y val="4.359994067661614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D0-497D-81BA-2AD4B7BE67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O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1.362738230095819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Hoja1!$C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0521320"/>
        <c:axId val="350519752"/>
      </c:barChart>
      <c:lineChart>
        <c:grouping val="standard"/>
        <c:varyColors val="0"/>
        <c:ser>
          <c:idx val="2"/>
          <c:order val="2"/>
          <c:tx>
            <c:strRef>
              <c:f>Hoja1!$D$1</c:f>
              <c:strCache>
                <c:ptCount val="1"/>
                <c:pt idx="0">
                  <c:v>I.E.</c:v>
                </c:pt>
              </c:strCache>
            </c:strRef>
          </c:tx>
          <c:spPr>
            <a:ln w="34925" cap="rnd">
              <a:solidFill>
                <a:schemeClr val="accent6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6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Hoja1!$D$2</c:f>
              <c:numCache>
                <c:formatCode>0.00</c:formatCode>
                <c:ptCount val="1"/>
                <c:pt idx="0">
                  <c:v>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0516224"/>
        <c:axId val="350522496"/>
      </c:lineChart>
      <c:catAx>
        <c:axId val="350521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9752"/>
        <c:crosses val="autoZero"/>
        <c:auto val="1"/>
        <c:lblAlgn val="ctr"/>
        <c:lblOffset val="100"/>
        <c:noMultiLvlLbl val="0"/>
      </c:catAx>
      <c:valAx>
        <c:axId val="350519752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21320"/>
        <c:crosses val="autoZero"/>
        <c:crossBetween val="between"/>
      </c:valAx>
      <c:valAx>
        <c:axId val="350522496"/>
        <c:scaling>
          <c:orientation val="minMax"/>
          <c:min val="0"/>
        </c:scaling>
        <c:delete val="0"/>
        <c:axPos val="r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6224"/>
        <c:crosses val="max"/>
        <c:crossBetween val="between"/>
      </c:valAx>
      <c:catAx>
        <c:axId val="3505162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05224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4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b="1" dirty="0"/>
              <a:t>SEASONA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7.5695866818642696E-2"/>
          <c:y val="0.19662278534839772"/>
          <c:w val="0.92388468586498484"/>
          <c:h val="0.64151234599537454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Fungifar</c:v>
                </c:pt>
              </c:strCache>
            </c:strRef>
          </c:tx>
          <c:spPr>
            <a:ln w="28575" cap="rnd">
              <a:solidFill>
                <a:srgbClr val="DB5CC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DB5CC1"/>
              </a:solidFill>
              <a:ln w="9525">
                <a:solidFill>
                  <a:srgbClr val="DB5CC1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B$2:$B$13</c:f>
              <c:numCache>
                <c:formatCode>\$0,\K</c:formatCode>
                <c:ptCount val="12"/>
                <c:pt idx="1">
                  <c:v>0</c:v>
                </c:pt>
                <c:pt idx="2">
                  <c:v>155.80000000000001</c:v>
                </c:pt>
                <c:pt idx="3">
                  <c:v>10476.359999999999</c:v>
                </c:pt>
                <c:pt idx="4">
                  <c:v>18879.067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AC-401A-B387-C3368003BC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3217672"/>
        <c:axId val="312815432"/>
      </c:lineChart>
      <c:dateAx>
        <c:axId val="313217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2815432"/>
        <c:crosses val="autoZero"/>
        <c:auto val="1"/>
        <c:lblOffset val="100"/>
        <c:baseTimeUnit val="months"/>
      </c:dateAx>
      <c:valAx>
        <c:axId val="312815432"/>
        <c:scaling>
          <c:orientation val="minMax"/>
        </c:scaling>
        <c:delete val="0"/>
        <c:axPos val="l"/>
        <c:numFmt formatCode="\$0,\K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3217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4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</a:rPr>
              <a:t>SOI BY BRAND (30K) – Mayo YTD</a:t>
            </a:r>
          </a:p>
        </c:rich>
      </c:tx>
      <c:layout>
        <c:manualLayout>
          <c:xMode val="edge"/>
          <c:yMode val="edge"/>
          <c:x val="0.24622198618676994"/>
          <c:y val="3.7193348892062853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22709838592446138"/>
          <c:y val="0.13339409223189086"/>
          <c:w val="0.77290161407553859"/>
          <c:h val="0.825693223986839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B$2</c:f>
              <c:numCache>
                <c:formatCode>0,\K</c:formatCode>
                <c:ptCount val="1"/>
                <c:pt idx="0">
                  <c:v>299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51-41A6-AE7A-FE1BDF8FEF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-20"/>
        <c:axId val="881978959"/>
        <c:axId val="881975351"/>
      </c:barChart>
      <c:catAx>
        <c:axId val="88197895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881975351"/>
        <c:crosses val="autoZero"/>
        <c:auto val="1"/>
        <c:lblAlgn val="r"/>
        <c:lblOffset val="100"/>
        <c:noMultiLvlLbl val="0"/>
      </c:catAx>
      <c:valAx>
        <c:axId val="881975351"/>
        <c:scaling>
          <c:orientation val="minMax"/>
        </c:scaling>
        <c:delete val="1"/>
        <c:axPos val="b"/>
        <c:numFmt formatCode="0,\K" sourceLinked="1"/>
        <c:majorTickMark val="none"/>
        <c:minorTickMark val="none"/>
        <c:tickLblPos val="nextTo"/>
        <c:crossAx val="88197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4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/>
              <a:t>MEDIA MIX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V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7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9D-304E-ABA9-30FF18EBDE68}"/>
                </c:ext>
              </c:extLst>
            </c:dLbl>
            <c:dLbl>
              <c:idx val="1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9D-304E-ABA9-30FF18EBDE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5B-448A-8CA7-0258257651B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T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895B-448A-8CA7-0258257651B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RAD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43-3045-AB52-B795B8687022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PRE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0D85-7543-9496-D6D2467A7B1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O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C52F-5D40-8B4A-6E8F8881FD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5"/>
              <c:spPr>
                <a:solidFill>
                  <a:srgbClr val="C0000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00" b="1" i="0" u="none" strike="noStrike" kern="1200" baseline="0">
                      <a:solidFill>
                        <a:schemeClr val="bg1"/>
                      </a:solidFill>
                      <a:latin typeface="Abadi MT Condensed Light" panose="020B0306030101010103" pitchFamily="34" charset="77"/>
                      <a:ea typeface="+mn-ea"/>
                      <a:cs typeface="+mn-cs"/>
                    </a:defRPr>
                  </a:pPr>
                  <a:endParaRPr lang="es-HN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323A-B64E-A7FE-9A48E8B010FE}"/>
                </c:ext>
              </c:extLst>
            </c:dLbl>
            <c:spPr>
              <a:solidFill>
                <a:srgbClr val="C0000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 MT Condensed Light" panose="020B0306030101010103" pitchFamily="34" charset="77"/>
                    <a:ea typeface="+mn-ea"/>
                    <a:cs typeface="+mn-cs"/>
                  </a:defRPr>
                </a:pPr>
                <a:endParaRPr lang="es-H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4</c:f>
              <c:strCache>
                <c:ptCount val="13"/>
                <c:pt idx="0">
                  <c:v>Vitaflenaco</c:v>
                </c:pt>
                <c:pt idx="1">
                  <c:v>X Ray Dol</c:v>
                </c:pt>
                <c:pt idx="2">
                  <c:v>Aliviol Migraña</c:v>
                </c:pt>
                <c:pt idx="3">
                  <c:v>Dolo Neurobión</c:v>
                </c:pt>
                <c:pt idx="4">
                  <c:v>Delor Flex</c:v>
                </c:pt>
                <c:pt idx="5">
                  <c:v>Iboprodol</c:v>
                </c:pt>
                <c:pt idx="6">
                  <c:v>Delor Extraf</c:v>
                </c:pt>
                <c:pt idx="7">
                  <c:v>Dolodol</c:v>
                </c:pt>
                <c:pt idx="8">
                  <c:v>Aliviol Flex</c:v>
                </c:pt>
                <c:pt idx="9">
                  <c:v>Milagrosa</c:v>
                </c:pt>
                <c:pt idx="10">
                  <c:v>Acet. Bayer</c:v>
                </c:pt>
                <c:pt idx="11">
                  <c:v>Aleve</c:v>
                </c:pt>
                <c:pt idx="12">
                  <c:v>Dorival</c:v>
                </c:pt>
              </c:strCache>
            </c:strRef>
          </c:cat>
          <c:val>
            <c:numRef>
              <c:f>Hoja1!$B$2:$B$14</c:f>
              <c:numCache>
                <c:formatCode>0,\K</c:formatCode>
                <c:ptCount val="13"/>
                <c:pt idx="0">
                  <c:v>846494.19787197828</c:v>
                </c:pt>
                <c:pt idx="1">
                  <c:v>683768.85307137808</c:v>
                </c:pt>
                <c:pt idx="2">
                  <c:v>366451.57970591867</c:v>
                </c:pt>
                <c:pt idx="3">
                  <c:v>358912.78226548003</c:v>
                </c:pt>
                <c:pt idx="4">
                  <c:v>219559.65271935691</c:v>
                </c:pt>
                <c:pt idx="5">
                  <c:v>207424.18760838144</c:v>
                </c:pt>
                <c:pt idx="6">
                  <c:v>178982.17887840263</c:v>
                </c:pt>
                <c:pt idx="7">
                  <c:v>174704.16981717676</c:v>
                </c:pt>
                <c:pt idx="8">
                  <c:v>140754.56067321287</c:v>
                </c:pt>
                <c:pt idx="9">
                  <c:v>138445.29030589195</c:v>
                </c:pt>
                <c:pt idx="10">
                  <c:v>101903.2168346187</c:v>
                </c:pt>
                <c:pt idx="11">
                  <c:v>100879.7591603817</c:v>
                </c:pt>
                <c:pt idx="12">
                  <c:v>93032.3644692327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3A-B64E-A7FE-9A48E8B010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axId val="1467663760"/>
        <c:axId val="1467665408"/>
      </c:barChart>
      <c:catAx>
        <c:axId val="146766376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 MT Condensed Light" panose="020B0306030101010103" pitchFamily="34" charset="77"/>
                <a:ea typeface="+mn-ea"/>
                <a:cs typeface="+mn-cs"/>
              </a:defRPr>
            </a:pPr>
            <a:endParaRPr lang="es-HN"/>
          </a:p>
        </c:txPr>
        <c:crossAx val="1467665408"/>
        <c:crosses val="autoZero"/>
        <c:auto val="1"/>
        <c:lblAlgn val="ctr"/>
        <c:lblOffset val="100"/>
        <c:noMultiLvlLbl val="0"/>
      </c:catAx>
      <c:valAx>
        <c:axId val="1467665408"/>
        <c:scaling>
          <c:orientation val="minMax"/>
        </c:scaling>
        <c:delete val="1"/>
        <c:axPos val="t"/>
        <c:numFmt formatCode="0,\K" sourceLinked="1"/>
        <c:majorTickMark val="none"/>
        <c:minorTickMark val="none"/>
        <c:tickLblPos val="nextTo"/>
        <c:crossAx val="1467663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HN"/>
    </a:p>
  </c:txPr>
  <c:externalData r:id="rId3">
    <c:autoUpdate val="0"/>
  </c:externalData>
</c:chartSpace>
</file>

<file path=ppt/charts/chart5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</a:t>
            </a:r>
            <a:r>
              <a:rPr lang="es-MX" sz="1400" baseline="0" dirty="0"/>
              <a:t> CATEGORY</a:t>
            </a:r>
            <a:endParaRPr lang="es-MX" sz="1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3.5245849948993782E-2"/>
          <c:y val="0.14704455135999536"/>
          <c:w val="0.92831630034931523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ICIA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2D-0148-A58C-F6067A1B63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PORTE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8B2D-0148-A58C-F6067A1B638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NTRETEN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B2D-0148-A58C-F6067A1B638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NOVELA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8B2D-0148-A58C-F6067A1B638B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TRO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8B2D-0148-A58C-F6067A1B638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598463300312617"/>
          <c:y val="0.78598774244985214"/>
          <c:w val="0.8138375838511237"/>
          <c:h val="7.77885179478440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5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MEDIA TV</a:t>
            </a:r>
            <a:r>
              <a:rPr lang="es-MX" sz="1400" baseline="0" dirty="0"/>
              <a:t> CHANNELS </a:t>
            </a:r>
            <a:r>
              <a:rPr lang="es-MX" sz="1000" baseline="0" dirty="0"/>
              <a:t>(229 Grp’s) </a:t>
            </a:r>
            <a:endParaRPr lang="es-MX" sz="1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VC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0-10AE-ED47-9C50-A0928AF2087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CH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Fungifar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79E-B641-8C80-101492BDF5F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245400514275736"/>
          <c:y val="0.76339662285886878"/>
          <c:w val="0.25064810072469318"/>
          <c:h val="7.77885179478440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5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SPOT LENGH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1.1503812628431528E-2"/>
          <c:y val="0.14704455135999536"/>
          <c:w val="0.95205851217511228"/>
          <c:h val="0.7341431858058925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'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B6-4331-902C-907B32E793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0'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A0B6-4331-902C-907B32E793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5'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A0B6-4331-902C-907B32E7939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'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Canesten V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A0B6-4331-902C-907B32E7939B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367356377665384E-2"/>
          <c:y val="0.77149411976734894"/>
          <c:w val="0.94529219429060596"/>
          <c:h val="7.83425493942767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5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dirty="0">
                <a:solidFill>
                  <a:schemeClr val="tx1"/>
                </a:solidFill>
              </a:rPr>
              <a:t>SOI-SOV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3.8989989460924718E-2"/>
          <c:y val="0.1386697829752874"/>
          <c:w val="0.9288227884557565"/>
          <c:h val="0.679576030319258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OI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Amino Pep</c:v>
                </c:pt>
                <c:pt idx="1">
                  <c:v>Teramin</c:v>
                </c:pt>
                <c:pt idx="2">
                  <c:v>Biomil</c:v>
                </c:pt>
              </c:strCache>
            </c:strRef>
          </c:cat>
          <c:val>
            <c:numRef>
              <c:f>Hoja1!$B$2:$B$4</c:f>
              <c:numCache>
                <c:formatCode>0%</c:formatCode>
                <c:ptCount val="3"/>
                <c:pt idx="0">
                  <c:v>0.55349999999999999</c:v>
                </c:pt>
                <c:pt idx="1">
                  <c:v>0.44130000000000003</c:v>
                </c:pt>
                <c:pt idx="2">
                  <c:v>5.100000000000000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D0-497D-81BA-2AD4B7BE67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O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1.362738230095819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D0-497D-81BA-2AD4B7BE6749}"/>
                </c:ext>
              </c:extLst>
            </c:dLbl>
            <c:dLbl>
              <c:idx val="1"/>
              <c:layout>
                <c:manualLayout>
                  <c:x val="1.168061340082132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Amino Pep</c:v>
                </c:pt>
                <c:pt idx="1">
                  <c:v>Teramin</c:v>
                </c:pt>
                <c:pt idx="2">
                  <c:v>Biomil</c:v>
                </c:pt>
              </c:strCache>
            </c:strRef>
          </c:cat>
          <c:val>
            <c:numRef>
              <c:f>Hoja1!$C$2:$C$4</c:f>
              <c:numCache>
                <c:formatCode>0%</c:formatCode>
                <c:ptCount val="3"/>
                <c:pt idx="0">
                  <c:v>0.45179999999999998</c:v>
                </c:pt>
                <c:pt idx="1">
                  <c:v>0.52539999999999998</c:v>
                </c:pt>
                <c:pt idx="2">
                  <c:v>2.28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0521320"/>
        <c:axId val="350519752"/>
      </c:barChart>
      <c:lineChart>
        <c:grouping val="standard"/>
        <c:varyColors val="0"/>
        <c:ser>
          <c:idx val="2"/>
          <c:order val="2"/>
          <c:tx>
            <c:strRef>
              <c:f>Hoja1!$D$1</c:f>
              <c:strCache>
                <c:ptCount val="1"/>
                <c:pt idx="0">
                  <c:v>I.E.</c:v>
                </c:pt>
              </c:strCache>
            </c:strRef>
          </c:tx>
          <c:spPr>
            <a:ln w="34925" cap="rnd">
              <a:solidFill>
                <a:schemeClr val="accent6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6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4</c:f>
              <c:strCache>
                <c:ptCount val="3"/>
                <c:pt idx="0">
                  <c:v>Amino Pep</c:v>
                </c:pt>
                <c:pt idx="1">
                  <c:v>Teramin</c:v>
                </c:pt>
                <c:pt idx="2">
                  <c:v>Biomil</c:v>
                </c:pt>
              </c:strCache>
            </c:strRef>
          </c:cat>
          <c:val>
            <c:numRef>
              <c:f>Hoja1!$D$2:$D$4</c:f>
              <c:numCache>
                <c:formatCode>0.00</c:formatCode>
                <c:ptCount val="3"/>
                <c:pt idx="0">
                  <c:v>0.81626016260162604</c:v>
                </c:pt>
                <c:pt idx="1">
                  <c:v>1.1905733061409471</c:v>
                </c:pt>
                <c:pt idx="2">
                  <c:v>4.47058823529411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0516224"/>
        <c:axId val="350522496"/>
      </c:lineChart>
      <c:catAx>
        <c:axId val="350521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9752"/>
        <c:crosses val="autoZero"/>
        <c:auto val="1"/>
        <c:lblAlgn val="ctr"/>
        <c:lblOffset val="100"/>
        <c:noMultiLvlLbl val="0"/>
      </c:catAx>
      <c:valAx>
        <c:axId val="350519752"/>
        <c:scaling>
          <c:orientation val="minMax"/>
          <c:max val="1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21320"/>
        <c:crosses val="autoZero"/>
        <c:crossBetween val="between"/>
      </c:valAx>
      <c:valAx>
        <c:axId val="350522496"/>
        <c:scaling>
          <c:orientation val="minMax"/>
          <c:min val="0"/>
        </c:scaling>
        <c:delete val="0"/>
        <c:axPos val="r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6224"/>
        <c:crosses val="max"/>
        <c:crossBetween val="between"/>
      </c:valAx>
      <c:catAx>
        <c:axId val="3505162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05224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5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b="1" dirty="0"/>
              <a:t>SEASONAL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7.5695866818642696E-2"/>
          <c:y val="0.19662278534839772"/>
          <c:w val="0.92388468586498484"/>
          <c:h val="0.64151234599537454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Terami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B$2:$B$13</c:f>
              <c:numCache>
                <c:formatCode>[$$-540A]#,##0</c:formatCode>
                <c:ptCount val="12"/>
                <c:pt idx="1">
                  <c:v>0</c:v>
                </c:pt>
                <c:pt idx="2">
                  <c:v>9336.35</c:v>
                </c:pt>
                <c:pt idx="3">
                  <c:v>28643.13</c:v>
                </c:pt>
                <c:pt idx="4">
                  <c:v>40064.73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AC-401A-B387-C3368003BCA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Amino Pep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C$2:$C$13</c:f>
              <c:numCache>
                <c:formatCode>General</c:formatCode>
                <c:ptCount val="12"/>
                <c:pt idx="3" formatCode="[$$-540A]#,##0">
                  <c:v>0</c:v>
                </c:pt>
                <c:pt idx="4" formatCode="[$$-540A]#,##0">
                  <c:v>758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DAC-401A-B387-C3368003BCA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Biomil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6"/>
              </a:solidFill>
              <a:ln w="9525">
                <a:solidFill>
                  <a:schemeClr val="accent6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D$2:$D$13</c:f>
              <c:numCache>
                <c:formatCode>[$$-540A]#,##0</c:formatCode>
                <c:ptCount val="12"/>
                <c:pt idx="1">
                  <c:v>0</c:v>
                </c:pt>
                <c:pt idx="2">
                  <c:v>957.29</c:v>
                </c:pt>
                <c:pt idx="3">
                  <c:v>2356.7800000000002</c:v>
                </c:pt>
                <c:pt idx="4">
                  <c:v>3438.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EE4F-344A-85F9-9F68CF70C5B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3217672"/>
        <c:axId val="312815432"/>
      </c:lineChart>
      <c:dateAx>
        <c:axId val="313217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2815432"/>
        <c:crosses val="autoZero"/>
        <c:auto val="1"/>
        <c:lblOffset val="100"/>
        <c:baseTimeUnit val="months"/>
      </c:dateAx>
      <c:valAx>
        <c:axId val="312815432"/>
        <c:scaling>
          <c:orientation val="minMax"/>
        </c:scaling>
        <c:delete val="0"/>
        <c:axPos val="l"/>
        <c:numFmt formatCode="[$$-540A]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3217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5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</a:rPr>
              <a:t>SOI BY BRAND ($161K) –</a:t>
            </a:r>
            <a:r>
              <a:rPr lang="en-US" sz="1400" baseline="0" dirty="0">
                <a:solidFill>
                  <a:schemeClr val="tx1"/>
                </a:solidFill>
              </a:rPr>
              <a:t> Mayo</a:t>
            </a:r>
            <a:r>
              <a:rPr lang="en-US" sz="1400" dirty="0">
                <a:solidFill>
                  <a:schemeClr val="tx1"/>
                </a:solidFill>
              </a:rPr>
              <a:t> YTD</a:t>
            </a:r>
          </a:p>
        </c:rich>
      </c:tx>
      <c:layout>
        <c:manualLayout>
          <c:xMode val="edge"/>
          <c:yMode val="edge"/>
          <c:x val="0.24622198618676994"/>
          <c:y val="3.7193348892062853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22709838592446138"/>
          <c:y val="0.13339409223189086"/>
          <c:w val="0.77290161407553859"/>
          <c:h val="0.8256932239868399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Biomil</c:v>
                </c:pt>
                <c:pt idx="1">
                  <c:v>Amino Pep</c:v>
                </c:pt>
                <c:pt idx="2">
                  <c:v>Teramin</c:v>
                </c:pt>
              </c:strCache>
            </c:strRef>
          </c:cat>
          <c:val>
            <c:numRef>
              <c:f>Sheet1!$B$2:$B$4</c:f>
              <c:numCache>
                <c:formatCode>0,\k</c:formatCode>
                <c:ptCount val="3"/>
                <c:pt idx="0">
                  <c:v>6752.34</c:v>
                </c:pt>
                <c:pt idx="1">
                  <c:v>75858</c:v>
                </c:pt>
                <c:pt idx="2">
                  <c:v>780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2B-6443-96DA-B1E7F1C2E9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5"/>
        <c:overlap val="-20"/>
        <c:axId val="881978959"/>
        <c:axId val="881975351"/>
      </c:barChart>
      <c:catAx>
        <c:axId val="881978959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881975351"/>
        <c:crosses val="autoZero"/>
        <c:auto val="1"/>
        <c:lblAlgn val="r"/>
        <c:lblOffset val="100"/>
        <c:noMultiLvlLbl val="0"/>
      </c:catAx>
      <c:valAx>
        <c:axId val="881975351"/>
        <c:scaling>
          <c:orientation val="minMax"/>
        </c:scaling>
        <c:delete val="1"/>
        <c:axPos val="b"/>
        <c:numFmt formatCode="0,\k" sourceLinked="1"/>
        <c:majorTickMark val="out"/>
        <c:minorTickMark val="none"/>
        <c:tickLblPos val="nextTo"/>
        <c:crossAx val="88197895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5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96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/>
              <a:t>MEDIA MIX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6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OTV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7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85-C841-854D-709274C32FB6}"/>
                </c:ext>
              </c:extLst>
            </c:dLbl>
            <c:dLbl>
              <c:idx val="1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285-C841-854D-709274C32FB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77</c:v>
                </c:pt>
                <c:pt idx="1">
                  <c:v>1</c:v>
                </c:pt>
                <c:pt idx="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285-C841-854D-709274C32FB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AD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 formatCode="0%">
                  <c:v>0.23</c:v>
                </c:pt>
                <c:pt idx="2" formatCode="0%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285-C841-854D-709274C32F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8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5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SPOT LENGH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1.1503812628431528E-2"/>
          <c:y val="0.14704455135999536"/>
          <c:w val="0.95205851217511228"/>
          <c:h val="0.73414318580589255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'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11</c:v>
                </c:pt>
                <c:pt idx="1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0B6-4331-902C-907B32E7939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0'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F3E-DC4D-B3A5-C483105338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51</c:v>
                </c:pt>
                <c:pt idx="1">
                  <c:v>0.31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0B6-4331-902C-907B32E7939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0"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F3E-DC4D-B3A5-C483105338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38</c:v>
                </c:pt>
                <c:pt idx="1">
                  <c:v>0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0B6-4331-902C-907B32E793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4628916047408564"/>
          <c:y val="0.83519977527453804"/>
          <c:w val="0.58470850990025702"/>
          <c:h val="7.834254939427673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5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CATEGOR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ICIA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4329999999999999</c:v>
                </c:pt>
                <c:pt idx="1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5F3-6040-AEB6-03F67499D84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PORTE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</c:numCache>
            </c:numRef>
          </c:val>
          <c:extLst>
            <c:ext xmlns:c16="http://schemas.microsoft.com/office/drawing/2014/chart" uri="{C3380CC4-5D6E-409C-BE32-E72D297353CC}">
              <c16:uniqueId val="{00000001-D5F3-6040-AEB6-03F67499D84E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VELAS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18</c:v>
                </c:pt>
                <c:pt idx="1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5F3-6040-AEB6-03F67499D84E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NTRETENIMIENTO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E$2:$E$4</c:f>
              <c:numCache>
                <c:formatCode>0%</c:formatCode>
                <c:ptCount val="3"/>
                <c:pt idx="0">
                  <c:v>0.22109999999999999</c:v>
                </c:pt>
                <c:pt idx="1">
                  <c:v>1.54E-2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5F3-6040-AEB6-03F67499D84E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TRO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F$2:$F$4</c:f>
              <c:numCache>
                <c:formatCode>General</c:formatCode>
                <c:ptCount val="3"/>
                <c:pt idx="0" formatCode="0%">
                  <c:v>0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D5F3-6040-AEB6-03F67499D8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4254003774779199E-2"/>
          <c:y val="0.85061528171081302"/>
          <c:w val="0.89999979639810146"/>
          <c:h val="7.98314510746618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5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MEDIA TV</a:t>
            </a:r>
            <a:r>
              <a:rPr lang="es-MX" sz="1400" baseline="0" dirty="0"/>
              <a:t> CHANNELS </a:t>
            </a:r>
            <a:r>
              <a:rPr lang="es-MX" sz="1000" baseline="0" dirty="0"/>
              <a:t>(1,734 GRP’S)</a:t>
            </a:r>
            <a:endParaRPr lang="es-MX" sz="10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24372878986049737"/>
          <c:y val="0.14704455135999536"/>
          <c:w val="0.71983331925392724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VC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26</c:v>
                </c:pt>
                <c:pt idx="1">
                  <c:v>0.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654-474B-BD0E-4B4FE415333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11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C$2:$C$4</c:f>
              <c:numCache>
                <c:formatCode>0%</c:formatCode>
                <c:ptCount val="3"/>
                <c:pt idx="0">
                  <c:v>0.33400000000000002</c:v>
                </c:pt>
                <c:pt idx="1">
                  <c:v>0.28000000000000003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54-474B-BD0E-4B4FE415333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CH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eramin</c:v>
                </c:pt>
                <c:pt idx="1">
                  <c:v>Amino Pep</c:v>
                </c:pt>
                <c:pt idx="2">
                  <c:v>Biomil</c:v>
                </c:pt>
              </c:strCache>
            </c:strRef>
          </c:cat>
          <c:val>
            <c:numRef>
              <c:f>Sheet1!$D$2:$D$4</c:f>
              <c:numCache>
                <c:formatCode>0%</c:formatCode>
                <c:ptCount val="3"/>
                <c:pt idx="0">
                  <c:v>0.41</c:v>
                </c:pt>
                <c:pt idx="1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54-474B-BD0E-4B4FE4153337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143880847444302"/>
          <c:y val="0.8763522208137855"/>
          <c:w val="0.72856119152555698"/>
          <c:h val="7.778851794784404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dirty="0">
                <a:solidFill>
                  <a:schemeClr val="tx1"/>
                </a:solidFill>
              </a:rPr>
              <a:t>SOI-SOV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3.8989989460924718E-2"/>
          <c:y val="0.1386697829752874"/>
          <c:w val="0.9288227884557565"/>
          <c:h val="0.679576030319258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OI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2"/>
              <c:layout>
                <c:manualLayout>
                  <c:x val="-3.5690350871197423E-17"/>
                  <c:y val="8.719988135323229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4D0-497D-81BA-2AD4B7BE6749}"/>
                </c:ext>
              </c:extLst>
            </c:dLbl>
            <c:dLbl>
              <c:idx val="4"/>
              <c:layout>
                <c:manualLayout>
                  <c:x val="-9.7338445006845062E-3"/>
                  <c:y val="4.359994067661614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3</c:f>
              <c:strCache>
                <c:ptCount val="12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Delor Extraf</c:v>
                </c:pt>
                <c:pt idx="5">
                  <c:v>Dolodol</c:v>
                </c:pt>
                <c:pt idx="6">
                  <c:v>Iboprodol</c:v>
                </c:pt>
                <c:pt idx="7">
                  <c:v>Panadol Ultra</c:v>
                </c:pt>
                <c:pt idx="8">
                  <c:v>Acetaminofen Bayer</c:v>
                </c:pt>
                <c:pt idx="9">
                  <c:v>Dorival</c:v>
                </c:pt>
                <c:pt idx="10">
                  <c:v>Aleve</c:v>
                </c:pt>
                <c:pt idx="11">
                  <c:v>Artribion</c:v>
                </c:pt>
              </c:strCache>
            </c:strRef>
          </c:cat>
          <c:val>
            <c:numRef>
              <c:f>Hoja1!$B$2:$B$13</c:f>
              <c:numCache>
                <c:formatCode>0%</c:formatCode>
                <c:ptCount val="12"/>
                <c:pt idx="0">
                  <c:v>0.27918767447948134</c:v>
                </c:pt>
                <c:pt idx="1">
                  <c:v>0.23020801202585847</c:v>
                </c:pt>
                <c:pt idx="2">
                  <c:v>0.11265373547098803</c:v>
                </c:pt>
                <c:pt idx="3">
                  <c:v>7.3920288920113306E-2</c:v>
                </c:pt>
                <c:pt idx="4">
                  <c:v>6.0258859997169553E-2</c:v>
                </c:pt>
                <c:pt idx="5">
                  <c:v>5.8818560461749707E-2</c:v>
                </c:pt>
                <c:pt idx="6">
                  <c:v>4.7006935924423808E-2</c:v>
                </c:pt>
                <c:pt idx="7">
                  <c:v>3.4292394804470404E-2</c:v>
                </c:pt>
                <c:pt idx="8">
                  <c:v>3.2885851914148612E-2</c:v>
                </c:pt>
                <c:pt idx="9">
                  <c:v>3.1143888764798032E-2</c:v>
                </c:pt>
                <c:pt idx="10">
                  <c:v>1.2740392987660337E-2</c:v>
                </c:pt>
                <c:pt idx="11">
                  <c:v>1.144601742568826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4D0-497D-81BA-2AD4B7BE6749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SOV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dLbl>
              <c:idx val="0"/>
              <c:layout>
                <c:manualLayout>
                  <c:x val="1.3627382300958191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4D0-497D-81BA-2AD4B7BE6749}"/>
                </c:ext>
              </c:extLst>
            </c:dLbl>
            <c:dLbl>
              <c:idx val="1"/>
              <c:layout>
                <c:manualLayout>
                  <c:x val="1.1680613400821322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4D0-497D-81BA-2AD4B7BE6749}"/>
                </c:ext>
              </c:extLst>
            </c:dLbl>
            <c:dLbl>
              <c:idx val="2"/>
              <c:layout>
                <c:manualLayout>
                  <c:x val="1.3627382300958208E-2"/>
                  <c:y val="-4.359994067661694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4D0-497D-81BA-2AD4B7BE6749}"/>
                </c:ext>
              </c:extLst>
            </c:dLbl>
            <c:dLbl>
              <c:idx val="3"/>
              <c:layout>
                <c:manualLayout>
                  <c:x val="1.5574151201095024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34D0-497D-81BA-2AD4B7BE674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3</c:f>
              <c:strCache>
                <c:ptCount val="12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Delor Extraf</c:v>
                </c:pt>
                <c:pt idx="5">
                  <c:v>Dolodol</c:v>
                </c:pt>
                <c:pt idx="6">
                  <c:v>Iboprodol</c:v>
                </c:pt>
                <c:pt idx="7">
                  <c:v>Panadol Ultra</c:v>
                </c:pt>
                <c:pt idx="8">
                  <c:v>Acetaminofen Bayer</c:v>
                </c:pt>
                <c:pt idx="9">
                  <c:v>Dorival</c:v>
                </c:pt>
                <c:pt idx="10">
                  <c:v>Aleve</c:v>
                </c:pt>
                <c:pt idx="11">
                  <c:v>Artribion</c:v>
                </c:pt>
              </c:strCache>
            </c:strRef>
          </c:cat>
          <c:val>
            <c:numRef>
              <c:f>Hoja1!$C$2:$C$13</c:f>
              <c:numCache>
                <c:formatCode>0%</c:formatCode>
                <c:ptCount val="12"/>
                <c:pt idx="0">
                  <c:v>0.26</c:v>
                </c:pt>
                <c:pt idx="1">
                  <c:v>0.18</c:v>
                </c:pt>
                <c:pt idx="2">
                  <c:v>0.12</c:v>
                </c:pt>
                <c:pt idx="3">
                  <c:v>7.0000000000000007E-2</c:v>
                </c:pt>
                <c:pt idx="4">
                  <c:v>0.05</c:v>
                </c:pt>
                <c:pt idx="5">
                  <c:v>0.05</c:v>
                </c:pt>
                <c:pt idx="6">
                  <c:v>0.02</c:v>
                </c:pt>
                <c:pt idx="7">
                  <c:v>0.04</c:v>
                </c:pt>
                <c:pt idx="8">
                  <c:v>0.06</c:v>
                </c:pt>
                <c:pt idx="9">
                  <c:v>0.05</c:v>
                </c:pt>
                <c:pt idx="10">
                  <c:v>0.03</c:v>
                </c:pt>
                <c:pt idx="11">
                  <c:v>8.2000000000000007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50521320"/>
        <c:axId val="350519752"/>
      </c:barChart>
      <c:lineChart>
        <c:grouping val="standard"/>
        <c:varyColors val="0"/>
        <c:ser>
          <c:idx val="2"/>
          <c:order val="2"/>
          <c:tx>
            <c:strRef>
              <c:f>Hoja1!$D$1</c:f>
              <c:strCache>
                <c:ptCount val="1"/>
                <c:pt idx="0">
                  <c:v>I.E.</c:v>
                </c:pt>
              </c:strCache>
            </c:strRef>
          </c:tx>
          <c:spPr>
            <a:ln w="34925" cap="rnd">
              <a:solidFill>
                <a:schemeClr val="accent6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circle"/>
            <c:size val="6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 w="9525">
                <a:solidFill>
                  <a:schemeClr val="accent6"/>
                </a:solidFill>
                <a:round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highlight>
                      <a:srgbClr val="FF0000"/>
                    </a:highlight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A$2:$A$13</c:f>
              <c:strCache>
                <c:ptCount val="12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Delor Extraf</c:v>
                </c:pt>
                <c:pt idx="5">
                  <c:v>Dolodol</c:v>
                </c:pt>
                <c:pt idx="6">
                  <c:v>Iboprodol</c:v>
                </c:pt>
                <c:pt idx="7">
                  <c:v>Panadol Ultra</c:v>
                </c:pt>
                <c:pt idx="8">
                  <c:v>Acetaminofen Bayer</c:v>
                </c:pt>
                <c:pt idx="9">
                  <c:v>Dorival</c:v>
                </c:pt>
                <c:pt idx="10">
                  <c:v>Aleve</c:v>
                </c:pt>
                <c:pt idx="11">
                  <c:v>Artribion</c:v>
                </c:pt>
              </c:strCache>
            </c:strRef>
          </c:cat>
          <c:val>
            <c:numRef>
              <c:f>Hoja1!$D$2:$D$13</c:f>
              <c:numCache>
                <c:formatCode>0.00</c:formatCode>
                <c:ptCount val="12"/>
                <c:pt idx="0">
                  <c:v>0.93127320353502385</c:v>
                </c:pt>
                <c:pt idx="1">
                  <c:v>0.78190154380804611</c:v>
                </c:pt>
                <c:pt idx="2">
                  <c:v>1.0652110158469079</c:v>
                </c:pt>
                <c:pt idx="3">
                  <c:v>0.94696599570450801</c:v>
                </c:pt>
                <c:pt idx="4">
                  <c:v>0.82975350018816441</c:v>
                </c:pt>
                <c:pt idx="5">
                  <c:v>0.85007180739344168</c:v>
                </c:pt>
                <c:pt idx="6">
                  <c:v>0.4254691271976403</c:v>
                </c:pt>
                <c:pt idx="7">
                  <c:v>1.1664393877439421</c:v>
                </c:pt>
                <c:pt idx="8">
                  <c:v>1.8244927988070747</c:v>
                </c:pt>
                <c:pt idx="9">
                  <c:v>1.6054514058152896</c:v>
                </c:pt>
                <c:pt idx="10">
                  <c:v>2.3547154337434013</c:v>
                </c:pt>
                <c:pt idx="11">
                  <c:v>0.716406387919414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8-34D0-497D-81BA-2AD4B7BE674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50516224"/>
        <c:axId val="350522496"/>
      </c:lineChart>
      <c:catAx>
        <c:axId val="350521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9752"/>
        <c:crosses val="autoZero"/>
        <c:auto val="1"/>
        <c:lblAlgn val="ctr"/>
        <c:lblOffset val="100"/>
        <c:noMultiLvlLbl val="0"/>
      </c:catAx>
      <c:valAx>
        <c:axId val="350519752"/>
        <c:scaling>
          <c:orientation val="minMax"/>
          <c:max val="0.2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21320"/>
        <c:crosses val="autoZero"/>
        <c:crossBetween val="between"/>
      </c:valAx>
      <c:valAx>
        <c:axId val="350522496"/>
        <c:scaling>
          <c:orientation val="minMax"/>
          <c:min val="0"/>
        </c:scaling>
        <c:delete val="0"/>
        <c:axPos val="r"/>
        <c:numFmt formatCode="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50516224"/>
        <c:crosses val="max"/>
        <c:crossBetween val="between"/>
      </c:valAx>
      <c:catAx>
        <c:axId val="35051622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350522496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900"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CR" sz="1400" b="1" dirty="0"/>
              <a:t>SEASONALITY</a:t>
            </a:r>
          </a:p>
        </c:rich>
      </c:tx>
      <c:layout>
        <c:manualLayout>
          <c:xMode val="edge"/>
          <c:yMode val="edge"/>
          <c:x val="0.42616885446427405"/>
          <c:y val="2.23160093352377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7.5695866818642696E-2"/>
          <c:y val="0.19662278534839772"/>
          <c:w val="0.92388468586498484"/>
          <c:h val="0.5187742946515671"/>
        </c:manualLayout>
      </c:layout>
      <c:lineChart>
        <c:grouping val="standar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Aliviol Migrañ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B$2:$B$13</c:f>
              <c:numCache>
                <c:formatCode>\$0,\k</c:formatCode>
                <c:ptCount val="12"/>
                <c:pt idx="0">
                  <c:v>65252.197160854768</c:v>
                </c:pt>
                <c:pt idx="1">
                  <c:v>49813.348529102739</c:v>
                </c:pt>
                <c:pt idx="2">
                  <c:v>55091.53</c:v>
                </c:pt>
                <c:pt idx="3">
                  <c:v>58189.89</c:v>
                </c:pt>
                <c:pt idx="4">
                  <c:v>73200</c:v>
                </c:pt>
                <c:pt idx="5">
                  <c:v>649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DAC-401A-B387-C3368003BCA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Dolo Neurobion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C$2:$C$13</c:f>
              <c:numCache>
                <c:formatCode>\$0,\k</c:formatCode>
                <c:ptCount val="12"/>
                <c:pt idx="0">
                  <c:v>49529.780306836132</c:v>
                </c:pt>
                <c:pt idx="1">
                  <c:v>52468.289177335064</c:v>
                </c:pt>
                <c:pt idx="2">
                  <c:v>60203.39</c:v>
                </c:pt>
                <c:pt idx="3">
                  <c:v>60340.45</c:v>
                </c:pt>
                <c:pt idx="4">
                  <c:v>61717</c:v>
                </c:pt>
                <c:pt idx="5">
                  <c:v>746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DAC-401A-B387-C3368003BCA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X Ray Dol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A16C-844D-B004-79C36A4CE12B}"/>
              </c:ext>
            </c:extLst>
          </c:dPt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D$2:$D$13</c:f>
              <c:numCache>
                <c:formatCode>\$0,\k</c:formatCode>
                <c:ptCount val="12"/>
                <c:pt idx="0">
                  <c:v>0</c:v>
                </c:pt>
                <c:pt idx="1">
                  <c:v>84169.877589079013</c:v>
                </c:pt>
                <c:pt idx="2">
                  <c:v>114971.39</c:v>
                </c:pt>
                <c:pt idx="3">
                  <c:v>256140</c:v>
                </c:pt>
                <c:pt idx="4">
                  <c:v>131591</c:v>
                </c:pt>
                <c:pt idx="5">
                  <c:v>968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DAC-401A-B387-C3368003BCAF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Delor Extraf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E$2:$E$13</c:f>
              <c:numCache>
                <c:formatCode>\$0,\k</c:formatCode>
                <c:ptCount val="12"/>
                <c:pt idx="0">
                  <c:v>37624.948143007954</c:v>
                </c:pt>
                <c:pt idx="1">
                  <c:v>36629.909751891311</c:v>
                </c:pt>
                <c:pt idx="2">
                  <c:v>32700.73</c:v>
                </c:pt>
                <c:pt idx="3">
                  <c:v>36062</c:v>
                </c:pt>
                <c:pt idx="4">
                  <c:v>35964</c:v>
                </c:pt>
                <c:pt idx="5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DAC-401A-B387-C3368003BCAF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Panadol Ultra</c:v>
                </c:pt>
              </c:strCache>
            </c:strRef>
          </c:tx>
          <c:spPr>
            <a:ln w="28575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F$2:$F$13</c:f>
              <c:numCache>
                <c:formatCode>\$0,\k</c:formatCode>
                <c:ptCount val="12"/>
                <c:pt idx="0">
                  <c:v>4020.2366530579602</c:v>
                </c:pt>
                <c:pt idx="1">
                  <c:v>65872.648725257051</c:v>
                </c:pt>
                <c:pt idx="2">
                  <c:v>8071.5</c:v>
                </c:pt>
                <c:pt idx="3">
                  <c:v>8196.77</c:v>
                </c:pt>
                <c:pt idx="4">
                  <c:v>5522</c:v>
                </c:pt>
                <c:pt idx="5">
                  <c:v>4555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DAC-401A-B387-C3368003BCAF}"/>
            </c:ext>
          </c:extLst>
        </c:ser>
        <c:ser>
          <c:idx val="5"/>
          <c:order val="5"/>
          <c:tx>
            <c:strRef>
              <c:f>Hoja1!$G$1</c:f>
              <c:strCache>
                <c:ptCount val="1"/>
                <c:pt idx="0">
                  <c:v>Vitaflenaco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G$2:$G$13</c:f>
              <c:numCache>
                <c:formatCode>\$0,\k</c:formatCode>
                <c:ptCount val="12"/>
                <c:pt idx="0">
                  <c:v>53041.16148399996</c:v>
                </c:pt>
                <c:pt idx="1">
                  <c:v>15249.515446464371</c:v>
                </c:pt>
                <c:pt idx="2">
                  <c:v>93829.87</c:v>
                </c:pt>
                <c:pt idx="3">
                  <c:v>355685.05</c:v>
                </c:pt>
                <c:pt idx="4">
                  <c:v>175584</c:v>
                </c:pt>
                <c:pt idx="5">
                  <c:v>1520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681-974A-9F41-B9084A911202}"/>
            </c:ext>
          </c:extLst>
        </c:ser>
        <c:ser>
          <c:idx val="6"/>
          <c:order val="6"/>
          <c:tx>
            <c:strRef>
              <c:f>Hoja1!$H$1</c:f>
              <c:strCache>
                <c:ptCount val="1"/>
                <c:pt idx="0">
                  <c:v>Delor Flex</c:v>
                </c:pt>
              </c:strCache>
            </c:strRef>
          </c:tx>
          <c:spPr>
            <a:ln w="28575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H$2:$H$13</c:f>
              <c:numCache>
                <c:formatCode>\$0,\k</c:formatCode>
                <c:ptCount val="12"/>
                <c:pt idx="0">
                  <c:v>32157.426294849134</c:v>
                </c:pt>
                <c:pt idx="1">
                  <c:v>31902.973185573184</c:v>
                </c:pt>
                <c:pt idx="2">
                  <c:v>29985.94</c:v>
                </c:pt>
                <c:pt idx="3">
                  <c:v>48537</c:v>
                </c:pt>
                <c:pt idx="4">
                  <c:v>55905</c:v>
                </c:pt>
                <c:pt idx="5">
                  <c:v>2107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681-974A-9F41-B9084A911202}"/>
            </c:ext>
          </c:extLst>
        </c:ser>
        <c:ser>
          <c:idx val="7"/>
          <c:order val="7"/>
          <c:tx>
            <c:strRef>
              <c:f>Hoja1!$I$1</c:f>
              <c:strCache>
                <c:ptCount val="1"/>
                <c:pt idx="0">
                  <c:v>Acetaminofen Bayer</c:v>
                </c:pt>
              </c:strCache>
            </c:strRef>
          </c:tx>
          <c:spPr>
            <a:ln w="28575" cap="rnd">
              <a:solidFill>
                <a:srgbClr val="00B0F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00B0F0"/>
              </a:solidFill>
              <a:ln w="12700">
                <a:solidFill>
                  <a:srgbClr val="00B0F0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I$2:$I$13</c:f>
              <c:numCache>
                <c:formatCode>\$0,\k</c:formatCode>
                <c:ptCount val="12"/>
                <c:pt idx="0">
                  <c:v>54577.702385029712</c:v>
                </c:pt>
                <c:pt idx="1">
                  <c:v>2833.0515208222505</c:v>
                </c:pt>
                <c:pt idx="2">
                  <c:v>10645</c:v>
                </c:pt>
                <c:pt idx="3">
                  <c:v>17377.73</c:v>
                </c:pt>
                <c:pt idx="5">
                  <c:v>1646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51E-7A43-BFB2-595F7AE92FFE}"/>
            </c:ext>
          </c:extLst>
        </c:ser>
        <c:ser>
          <c:idx val="8"/>
          <c:order val="8"/>
          <c:tx>
            <c:strRef>
              <c:f>Hoja1!$J$1</c:f>
              <c:strCache>
                <c:ptCount val="1"/>
                <c:pt idx="0">
                  <c:v>Aliviol Flex</c:v>
                </c:pt>
              </c:strCache>
            </c:strRef>
          </c:tx>
          <c:spPr>
            <a:ln w="28575" cap="rnd">
              <a:solidFill>
                <a:schemeClr val="accent6">
                  <a:lumMod val="80000"/>
                  <a:lumOff val="2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J$2:$J$13</c:f>
              <c:numCache>
                <c:formatCode>\$0,\k</c:formatCode>
                <c:ptCount val="12"/>
                <c:pt idx="0">
                  <c:v>25189.760584484571</c:v>
                </c:pt>
                <c:pt idx="1">
                  <c:v>18014.322304503385</c:v>
                </c:pt>
                <c:pt idx="2">
                  <c:v>19663.59</c:v>
                </c:pt>
                <c:pt idx="3">
                  <c:v>25166.639999999999</c:v>
                </c:pt>
                <c:pt idx="4">
                  <c:v>28215</c:v>
                </c:pt>
                <c:pt idx="5">
                  <c:v>245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51E-7A43-BFB2-595F7AE92FFE}"/>
            </c:ext>
          </c:extLst>
        </c:ser>
        <c:ser>
          <c:idx val="9"/>
          <c:order val="9"/>
          <c:tx>
            <c:strRef>
              <c:f>Hoja1!$K$1</c:f>
              <c:strCache>
                <c:ptCount val="1"/>
                <c:pt idx="0">
                  <c:v>Iboprodol</c:v>
                </c:pt>
              </c:strCache>
            </c:strRef>
          </c:tx>
          <c:spPr>
            <a:ln w="28575" cap="rnd">
              <a:solidFill>
                <a:schemeClr val="accent2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K$2:$K$13</c:f>
              <c:numCache>
                <c:formatCode>\$0,\k</c:formatCode>
                <c:ptCount val="12"/>
                <c:pt idx="0">
                  <c:v>14604.829416891858</c:v>
                </c:pt>
                <c:pt idx="1">
                  <c:v>26872.34539413817</c:v>
                </c:pt>
                <c:pt idx="2">
                  <c:v>61106.37</c:v>
                </c:pt>
                <c:pt idx="3">
                  <c:v>16982.689999999999</c:v>
                </c:pt>
                <c:pt idx="4">
                  <c:v>68035</c:v>
                </c:pt>
                <c:pt idx="5">
                  <c:v>198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51E-7A43-BFB2-595F7AE92FFE}"/>
            </c:ext>
          </c:extLst>
        </c:ser>
        <c:ser>
          <c:idx val="10"/>
          <c:order val="10"/>
          <c:tx>
            <c:strRef>
              <c:f>Hoja1!$L$1</c:f>
              <c:strCache>
                <c:ptCount val="1"/>
                <c:pt idx="0">
                  <c:v>Milagrosa Adultos</c:v>
                </c:pt>
              </c:strCache>
            </c:strRef>
          </c:tx>
          <c:spPr>
            <a:ln w="28575" cap="rnd">
              <a:solidFill>
                <a:schemeClr val="accent4">
                  <a:lumMod val="8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L$2:$L$13</c:f>
              <c:numCache>
                <c:formatCode>\$0,\k</c:formatCode>
                <c:ptCount val="12"/>
                <c:pt idx="0">
                  <c:v>22896.655498801105</c:v>
                </c:pt>
                <c:pt idx="1">
                  <c:v>17347.265723637251</c:v>
                </c:pt>
                <c:pt idx="2">
                  <c:v>23965.63</c:v>
                </c:pt>
                <c:pt idx="3">
                  <c:v>24278</c:v>
                </c:pt>
                <c:pt idx="4">
                  <c:v>26258</c:v>
                </c:pt>
                <c:pt idx="5">
                  <c:v>236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351E-7A43-BFB2-595F7AE92FFE}"/>
            </c:ext>
          </c:extLst>
        </c:ser>
        <c:ser>
          <c:idx val="11"/>
          <c:order val="11"/>
          <c:tx>
            <c:strRef>
              <c:f>Hoja1!$M$1</c:f>
              <c:strCache>
                <c:ptCount val="1"/>
                <c:pt idx="0">
                  <c:v>Aleve</c:v>
                </c:pt>
              </c:strCache>
            </c:strRef>
          </c:tx>
          <c:spPr>
            <a:ln w="28575" cap="rnd">
              <a:solidFill>
                <a:srgbClr val="FFFF00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FFFF00"/>
              </a:solidFill>
              <a:ln w="12700">
                <a:solidFill>
                  <a:srgbClr val="FFFF00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M$2:$M$13</c:f>
              <c:numCache>
                <c:formatCode>\$0,\k</c:formatCode>
                <c:ptCount val="12"/>
                <c:pt idx="0">
                  <c:v>10242.669606068739</c:v>
                </c:pt>
                <c:pt idx="1">
                  <c:v>18433.285836650455</c:v>
                </c:pt>
                <c:pt idx="2">
                  <c:v>23276.36</c:v>
                </c:pt>
                <c:pt idx="3">
                  <c:v>23462</c:v>
                </c:pt>
                <c:pt idx="4">
                  <c:v>7511</c:v>
                </c:pt>
                <c:pt idx="5">
                  <c:v>17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351E-7A43-BFB2-595F7AE92FFE}"/>
            </c:ext>
          </c:extLst>
        </c:ser>
        <c:ser>
          <c:idx val="12"/>
          <c:order val="12"/>
          <c:tx>
            <c:strRef>
              <c:f>Hoja1!$N$1</c:f>
              <c:strCache>
                <c:ptCount val="1"/>
                <c:pt idx="0">
                  <c:v>Dolodol</c:v>
                </c:pt>
              </c:strCache>
            </c:strRef>
          </c:tx>
          <c:spPr>
            <a:ln w="28575" cap="rnd">
              <a:solidFill>
                <a:schemeClr val="accent2">
                  <a:lumMod val="60000"/>
                  <a:lumOff val="40000"/>
                </a:schemeClr>
              </a:solidFill>
              <a:round/>
            </a:ln>
            <a:effectLst/>
          </c:spPr>
          <c:marker>
            <c:symbol val="none"/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N$2:$N$13</c:f>
              <c:numCache>
                <c:formatCode>\$0,\k</c:formatCode>
                <c:ptCount val="12"/>
                <c:pt idx="0">
                  <c:v>19417.607672766469</c:v>
                </c:pt>
                <c:pt idx="1">
                  <c:v>3868.8930586508377</c:v>
                </c:pt>
                <c:pt idx="2">
                  <c:v>14088</c:v>
                </c:pt>
                <c:pt idx="3">
                  <c:v>0</c:v>
                </c:pt>
                <c:pt idx="4">
                  <c:v>45809</c:v>
                </c:pt>
                <c:pt idx="5">
                  <c:v>915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351E-7A43-BFB2-595F7AE92FFE}"/>
            </c:ext>
          </c:extLst>
        </c:ser>
        <c:ser>
          <c:idx val="13"/>
          <c:order val="13"/>
          <c:tx>
            <c:strRef>
              <c:f>Hoja1!$O$1</c:f>
              <c:strCache>
                <c:ptCount val="1"/>
                <c:pt idx="0">
                  <c:v>Dorival</c:v>
                </c:pt>
              </c:strCache>
            </c:strRef>
          </c:tx>
          <c:spPr>
            <a:ln w="28575" cap="rnd">
              <a:solidFill>
                <a:srgbClr val="DB5CC1"/>
              </a:solidFill>
              <a:round/>
            </a:ln>
            <a:effectLst/>
          </c:spPr>
          <c:marker>
            <c:symbol val="circle"/>
            <c:size val="7"/>
            <c:spPr>
              <a:solidFill>
                <a:srgbClr val="DB5CC1"/>
              </a:solidFill>
              <a:ln w="12700">
                <a:solidFill>
                  <a:srgbClr val="DB5CC1"/>
                </a:solidFill>
              </a:ln>
              <a:effectLst/>
            </c:spPr>
          </c:marker>
          <c:cat>
            <c:numRef>
              <c:f>Hoja1!$A$2:$A$13</c:f>
              <c:numCache>
                <c:formatCode>mmm\-yy</c:formatCode>
                <c:ptCount val="12"/>
                <c:pt idx="0">
                  <c:v>44927</c:v>
                </c:pt>
                <c:pt idx="1">
                  <c:v>44958</c:v>
                </c:pt>
                <c:pt idx="2">
                  <c:v>44986</c:v>
                </c:pt>
                <c:pt idx="3">
                  <c:v>45017</c:v>
                </c:pt>
                <c:pt idx="4">
                  <c:v>45047</c:v>
                </c:pt>
                <c:pt idx="5">
                  <c:v>45078</c:v>
                </c:pt>
                <c:pt idx="6">
                  <c:v>45108</c:v>
                </c:pt>
                <c:pt idx="7">
                  <c:v>45139</c:v>
                </c:pt>
                <c:pt idx="8">
                  <c:v>45191</c:v>
                </c:pt>
                <c:pt idx="9">
                  <c:v>45221</c:v>
                </c:pt>
                <c:pt idx="10">
                  <c:v>45252</c:v>
                </c:pt>
                <c:pt idx="11">
                  <c:v>45282</c:v>
                </c:pt>
              </c:numCache>
            </c:numRef>
          </c:cat>
          <c:val>
            <c:numRef>
              <c:f>Hoja1!$O$2:$O$13</c:f>
              <c:numCache>
                <c:formatCode>\$0,\k</c:formatCode>
                <c:ptCount val="12"/>
                <c:pt idx="0">
                  <c:v>297.8</c:v>
                </c:pt>
                <c:pt idx="1">
                  <c:v>8858.09</c:v>
                </c:pt>
                <c:pt idx="2">
                  <c:v>0</c:v>
                </c:pt>
                <c:pt idx="3">
                  <c:v>1149.69</c:v>
                </c:pt>
                <c:pt idx="4">
                  <c:v>20534</c:v>
                </c:pt>
                <c:pt idx="5">
                  <c:v>621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97C8-2346-9EFE-4C92B6FD39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3217672"/>
        <c:axId val="312815432"/>
      </c:lineChart>
      <c:dateAx>
        <c:axId val="31321767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mmm\-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2815432"/>
        <c:crosses val="autoZero"/>
        <c:auto val="1"/>
        <c:lblOffset val="100"/>
        <c:baseTimeUnit val="months"/>
      </c:dateAx>
      <c:valAx>
        <c:axId val="312815432"/>
        <c:scaling>
          <c:orientation val="minMax"/>
        </c:scaling>
        <c:delete val="0"/>
        <c:axPos val="l"/>
        <c:numFmt formatCode="\$0,\k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endParaRPr lang="es-HN"/>
          </a:p>
        </c:txPr>
        <c:crossAx val="313217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2.2591473600511506E-2"/>
          <c:y val="0.83471744329991104"/>
          <c:w val="0.95481689271427295"/>
          <c:h val="0.165282556700088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V CATEGORY</a:t>
            </a:r>
            <a:endParaRPr lang="es-MX" sz="800" dirty="0"/>
          </a:p>
        </c:rich>
      </c:tx>
      <c:layout>
        <c:manualLayout>
          <c:xMode val="edge"/>
          <c:yMode val="edge"/>
          <c:x val="0.37104721867216989"/>
          <c:y val="3.57366221673771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icia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 </c:v>
                </c:pt>
                <c:pt idx="6">
                  <c:v>Dorival</c:v>
                </c:pt>
                <c:pt idx="7">
                  <c:v>Delor Extraf</c:v>
                </c:pt>
                <c:pt idx="8">
                  <c:v>Aleve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44</c:v>
                </c:pt>
                <c:pt idx="1">
                  <c:v>0.28999999999999998</c:v>
                </c:pt>
                <c:pt idx="2">
                  <c:v>0.46</c:v>
                </c:pt>
                <c:pt idx="3">
                  <c:v>0.49</c:v>
                </c:pt>
                <c:pt idx="4">
                  <c:v>0.06</c:v>
                </c:pt>
                <c:pt idx="5">
                  <c:v>0.4</c:v>
                </c:pt>
                <c:pt idx="7">
                  <c:v>0.21</c:v>
                </c:pt>
                <c:pt idx="8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53C-E344-A92F-E6B2D912022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Deporte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 </c:v>
                </c:pt>
                <c:pt idx="6">
                  <c:v>Dorival</c:v>
                </c:pt>
                <c:pt idx="7">
                  <c:v>Delor Extraf</c:v>
                </c:pt>
                <c:pt idx="8">
                  <c:v>Aleve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0.09</c:v>
                </c:pt>
                <c:pt idx="1">
                  <c:v>0.04</c:v>
                </c:pt>
                <c:pt idx="4">
                  <c:v>0.05</c:v>
                </c:pt>
                <c:pt idx="5">
                  <c:v>0.05</c:v>
                </c:pt>
                <c:pt idx="6">
                  <c:v>0.3</c:v>
                </c:pt>
                <c:pt idx="7">
                  <c:v>0.02</c:v>
                </c:pt>
                <c:pt idx="8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53C-E344-A92F-E6B2D912022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ovelas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 </c:v>
                </c:pt>
                <c:pt idx="6">
                  <c:v>Dorival</c:v>
                </c:pt>
                <c:pt idx="7">
                  <c:v>Delor Extraf</c:v>
                </c:pt>
                <c:pt idx="8">
                  <c:v>Aleve</c:v>
                </c:pt>
              </c:strCache>
            </c:strRef>
          </c:cat>
          <c:val>
            <c:numRef>
              <c:f>Sheet1!$D$2:$D$10</c:f>
              <c:numCache>
                <c:formatCode>0%</c:formatCode>
                <c:ptCount val="9"/>
                <c:pt idx="0">
                  <c:v>0.05</c:v>
                </c:pt>
                <c:pt idx="1">
                  <c:v>0.36</c:v>
                </c:pt>
                <c:pt idx="2">
                  <c:v>0.38</c:v>
                </c:pt>
                <c:pt idx="3">
                  <c:v>0.38</c:v>
                </c:pt>
                <c:pt idx="4">
                  <c:v>0.03</c:v>
                </c:pt>
                <c:pt idx="5">
                  <c:v>0.16</c:v>
                </c:pt>
                <c:pt idx="6">
                  <c:v>0.24</c:v>
                </c:pt>
                <c:pt idx="7">
                  <c:v>0.67</c:v>
                </c:pt>
                <c:pt idx="8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53C-E344-A92F-E6B2D912022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ntreten.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 </c:v>
                </c:pt>
                <c:pt idx="6">
                  <c:v>Dorival</c:v>
                </c:pt>
                <c:pt idx="7">
                  <c:v>Delor Extraf</c:v>
                </c:pt>
                <c:pt idx="8">
                  <c:v>Aleve</c:v>
                </c:pt>
              </c:strCache>
            </c:strRef>
          </c:cat>
          <c:val>
            <c:numRef>
              <c:f>Sheet1!$E$2:$E$10</c:f>
              <c:numCache>
                <c:formatCode>0%</c:formatCode>
                <c:ptCount val="9"/>
                <c:pt idx="0">
                  <c:v>0.3</c:v>
                </c:pt>
                <c:pt idx="1">
                  <c:v>0.16</c:v>
                </c:pt>
                <c:pt idx="2">
                  <c:v>0.16</c:v>
                </c:pt>
                <c:pt idx="3">
                  <c:v>0.1</c:v>
                </c:pt>
                <c:pt idx="4">
                  <c:v>0.64</c:v>
                </c:pt>
                <c:pt idx="5">
                  <c:v>0.36</c:v>
                </c:pt>
                <c:pt idx="6">
                  <c:v>0.44</c:v>
                </c:pt>
                <c:pt idx="7">
                  <c:v>7.0000000000000007E-2</c:v>
                </c:pt>
                <c:pt idx="8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3C-E344-A92F-E6B2D912022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Otros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 </c:v>
                </c:pt>
                <c:pt idx="6">
                  <c:v>Dorival</c:v>
                </c:pt>
                <c:pt idx="7">
                  <c:v>Delor Extraf</c:v>
                </c:pt>
                <c:pt idx="8">
                  <c:v>Aleve</c:v>
                </c:pt>
              </c:strCache>
            </c:strRef>
          </c:cat>
          <c:val>
            <c:numRef>
              <c:f>Sheet1!$F$2:$F$10</c:f>
              <c:numCache>
                <c:formatCode>0%</c:formatCode>
                <c:ptCount val="9"/>
                <c:pt idx="0">
                  <c:v>0.12</c:v>
                </c:pt>
                <c:pt idx="1">
                  <c:v>0.15</c:v>
                </c:pt>
                <c:pt idx="3">
                  <c:v>0.03</c:v>
                </c:pt>
                <c:pt idx="4">
                  <c:v>0.22</c:v>
                </c:pt>
                <c:pt idx="5">
                  <c:v>0.03</c:v>
                </c:pt>
                <c:pt idx="6">
                  <c:v>0.02</c:v>
                </c:pt>
                <c:pt idx="7">
                  <c:v>0.03</c:v>
                </c:pt>
                <c:pt idx="8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53C-E344-A92F-E6B2D91202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1436722217280691"/>
          <c:y val="0.8604806556979171"/>
          <c:w val="0.83334344773091606"/>
          <c:h val="7.6652947610500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200" b="1" i="0" u="none" strike="noStrike" baseline="0" dirty="0">
                <a:effectLst/>
              </a:rPr>
              <a:t>TV SPOT LENGHT</a:t>
            </a:r>
            <a:r>
              <a:rPr lang="es-MX" sz="1200" b="1" i="0" u="none" strike="noStrike" baseline="0" dirty="0"/>
              <a:t> </a:t>
            </a:r>
            <a:endParaRPr lang="es-MX" sz="800" dirty="0"/>
          </a:p>
        </c:rich>
      </c:tx>
      <c:layout>
        <c:manualLayout>
          <c:xMode val="edge"/>
          <c:yMode val="edge"/>
          <c:x val="0.37104721867216989"/>
          <c:y val="3.57366221673771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title>
    <c:autoTitleDeleted val="0"/>
    <c:plotArea>
      <c:layout>
        <c:manualLayout>
          <c:layoutTarget val="inner"/>
          <c:xMode val="edge"/>
          <c:yMode val="edge"/>
          <c:x val="0.17343871484223275"/>
          <c:y val="0.14704455135999536"/>
          <c:w val="0.790123559305145"/>
          <c:h val="0.7295926214614741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5"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 </c:v>
                </c:pt>
                <c:pt idx="6">
                  <c:v>Dorival</c:v>
                </c:pt>
                <c:pt idx="7">
                  <c:v>Delor Extra</c:v>
                </c:pt>
                <c:pt idx="8">
                  <c:v>Aleve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25</c:v>
                </c:pt>
                <c:pt idx="3">
                  <c:v>0.04</c:v>
                </c:pt>
                <c:pt idx="5">
                  <c:v>0.06</c:v>
                </c:pt>
                <c:pt idx="6">
                  <c:v>0.48</c:v>
                </c:pt>
                <c:pt idx="8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6E-8F44-8E86-70174DA45EF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0"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 </c:v>
                </c:pt>
                <c:pt idx="6">
                  <c:v>Dorival</c:v>
                </c:pt>
                <c:pt idx="7">
                  <c:v>Delor Extra</c:v>
                </c:pt>
                <c:pt idx="8">
                  <c:v>Aleve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0.04</c:v>
                </c:pt>
                <c:pt idx="3">
                  <c:v>7.0000000000000007E-2</c:v>
                </c:pt>
                <c:pt idx="4">
                  <c:v>1</c:v>
                </c:pt>
                <c:pt idx="5">
                  <c:v>0.05</c:v>
                </c:pt>
                <c:pt idx="6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6E-8F44-8E86-70174DA45EF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15"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atMod val="103000"/>
                    <a:lumMod val="102000"/>
                    <a:tint val="94000"/>
                  </a:schemeClr>
                </a:gs>
                <a:gs pos="50000">
                  <a:schemeClr val="accent6">
                    <a:satMod val="110000"/>
                    <a:lumMod val="100000"/>
                    <a:shade val="100000"/>
                  </a:schemeClr>
                </a:gs>
                <a:gs pos="100000">
                  <a:schemeClr val="accent6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 </c:v>
                </c:pt>
                <c:pt idx="6">
                  <c:v>Dorival</c:v>
                </c:pt>
                <c:pt idx="7">
                  <c:v>Delor Extra</c:v>
                </c:pt>
                <c:pt idx="8">
                  <c:v>Aleve</c:v>
                </c:pt>
              </c:strCache>
            </c:strRef>
          </c:cat>
          <c:val>
            <c:numRef>
              <c:f>Sheet1!$D$2:$D$10</c:f>
              <c:numCache>
                <c:formatCode>0%</c:formatCode>
                <c:ptCount val="9"/>
                <c:pt idx="1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B6E-8F44-8E86-70174DA45EF3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"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 </c:v>
                </c:pt>
                <c:pt idx="6">
                  <c:v>Dorival</c:v>
                </c:pt>
                <c:pt idx="7">
                  <c:v>Delor Extra</c:v>
                </c:pt>
                <c:pt idx="8">
                  <c:v>Aleve</c:v>
                </c:pt>
              </c:strCache>
            </c:strRef>
          </c:cat>
          <c:val>
            <c:numRef>
              <c:f>Sheet1!$E$2:$E$10</c:f>
              <c:numCache>
                <c:formatCode>0%</c:formatCode>
                <c:ptCount val="9"/>
                <c:pt idx="0">
                  <c:v>0.08</c:v>
                </c:pt>
                <c:pt idx="1">
                  <c:v>0.57999999999999996</c:v>
                </c:pt>
                <c:pt idx="2">
                  <c:v>1</c:v>
                </c:pt>
                <c:pt idx="6">
                  <c:v>0.1</c:v>
                </c:pt>
                <c:pt idx="8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B6E-8F44-8E86-70174DA45EF3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30"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lumMod val="60000"/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lumMod val="60000"/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60000"/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Abadi" panose="020B0604020104020204" pitchFamily="34" charset="0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Vitaflenaco</c:v>
                </c:pt>
                <c:pt idx="1">
                  <c:v>X Ray Dol</c:v>
                </c:pt>
                <c:pt idx="2">
                  <c:v>Dolo Neurobión</c:v>
                </c:pt>
                <c:pt idx="3">
                  <c:v>Delor Flex</c:v>
                </c:pt>
                <c:pt idx="4">
                  <c:v>Acetam Bayer</c:v>
                </c:pt>
                <c:pt idx="5">
                  <c:v>Dolodol </c:v>
                </c:pt>
                <c:pt idx="6">
                  <c:v>Dorival</c:v>
                </c:pt>
                <c:pt idx="7">
                  <c:v>Delor Extra</c:v>
                </c:pt>
                <c:pt idx="8">
                  <c:v>Aleve</c:v>
                </c:pt>
              </c:strCache>
            </c:strRef>
          </c:cat>
          <c:val>
            <c:numRef>
              <c:f>Sheet1!$F$2:$F$10</c:f>
              <c:numCache>
                <c:formatCode>0%</c:formatCode>
                <c:ptCount val="9"/>
                <c:pt idx="0">
                  <c:v>0.63</c:v>
                </c:pt>
                <c:pt idx="1">
                  <c:v>0.19</c:v>
                </c:pt>
                <c:pt idx="3">
                  <c:v>0.89</c:v>
                </c:pt>
                <c:pt idx="5">
                  <c:v>0.88</c:v>
                </c:pt>
                <c:pt idx="6">
                  <c:v>0.37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D34-664F-BBCF-C7487D0B0A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647512287"/>
        <c:axId val="647515567"/>
      </c:barChart>
      <c:catAx>
        <c:axId val="647512287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647515567"/>
        <c:crosses val="autoZero"/>
        <c:auto val="1"/>
        <c:lblAlgn val="ctr"/>
        <c:lblOffset val="100"/>
        <c:noMultiLvlLbl val="0"/>
      </c:catAx>
      <c:valAx>
        <c:axId val="647515567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6475122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275200907452901"/>
          <c:y val="0.85602843841148757"/>
          <c:w val="0.5317176272782338"/>
          <c:h val="7.665294761050033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/>
              </a:solidFill>
              <a:latin typeface="Abadi" panose="020B0604020104020204" pitchFamily="34" charset="0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tx1"/>
          </a:solidFill>
          <a:latin typeface="Abadi" panose="020B0604020104020204" pitchFamily="34" charset="0"/>
        </a:defRPr>
      </a:pPr>
      <a:endParaRPr lang="es-H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0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4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5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0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1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2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6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7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1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2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3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4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5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8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29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1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2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5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6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7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8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39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1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2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3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4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5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6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8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49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0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1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2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3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5.xml><?xml version="1.0" encoding="utf-8"?>
<cs:chartStyle xmlns:cs="http://schemas.microsoft.com/office/drawing/2012/chartStyle" xmlns:a="http://schemas.openxmlformats.org/drawingml/2006/main" id="34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ize="5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6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7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8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59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5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9.xml><?xml version="1.0" encoding="utf-8"?>
<cs:chartStyle xmlns:cs="http://schemas.microsoft.com/office/drawing/2012/chartStyle" xmlns:a="http://schemas.openxmlformats.org/drawingml/2006/main" id="34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omments/modernComment_7FFFD53B_4F3C144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C84DD8F-3449-4A8C-83D7-A0833E7E5816}" authorId="{09E4DA30-93A8-11AF-9121-96145B37829D}" created="2022-11-01T14:15:01.23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29337418" sldId="2147472699"/>
      <ac:graphicFrameMk id="41" creationId="{AF6C3E31-7473-4159-8079-63FF33C22673}"/>
    </ac:deMkLst>
    <p188:txBody>
      <a:bodyPr/>
      <a:lstStyle/>
      <a:p>
        <a:r>
          <a:rPr lang="es-MX"/>
          <a:t>Cateogrías de Mayor a Menor</a:t>
        </a:r>
      </a:p>
    </p188:txBody>
  </p188:cm>
  <p188:cm id="{84FE9B17-5B7D-4B49-AFA5-D038FFD61973}" authorId="{09E4DA30-93A8-11AF-9121-96145B37829D}" created="2022-11-01T14:16:11.70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29337418" sldId="2147472699"/>
      <ac:graphicFrameMk id="3" creationId="{614C6C6C-BB98-4C5E-BA77-2A561F47B36F}"/>
    </ac:deMkLst>
    <p188:txBody>
      <a:bodyPr/>
      <a:lstStyle/>
      <a:p>
        <a:r>
          <a:rPr lang="es-MX"/>
          <a:t>Share de inversión de las marcas Bayer en cada categoría, marcas en verde en caso de ser marca líder</a:t>
        </a:r>
      </a:p>
    </p188:txBody>
  </p188:cm>
</p188:cmLst>
</file>

<file path=ppt/comments/modernComment_7FFFD53C_2D813B5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927C1BE-8B79-4C10-B450-4D16B9327C3B}" authorId="{09E4DA30-93A8-11AF-9121-96145B37829D}" created="2022-11-01T16:03:22.78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763444062" sldId="2147472700"/>
      <ac:graphicFrameMk id="21" creationId="{9614D2A4-6A3E-4675-BF63-453B74AC726E}"/>
    </ac:deMkLst>
    <p188:txBody>
      <a:bodyPr/>
      <a:lstStyle/>
      <a:p>
        <a:r>
          <a:rPr lang="es-MX"/>
          <a:t>Incluir solo Top5 y marcas Bayer</a:t>
        </a:r>
      </a:p>
    </p188:txBody>
  </p188:cm>
  <p188:cm id="{3E53EE81-A77D-4CEC-B4D7-90955E66F490}" authorId="{09E4DA30-93A8-11AF-9121-96145B37829D}" created="2022-11-01T16:58:53.40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763444062" sldId="2147472700"/>
      <ac:graphicFrameMk id="19" creationId="{785628DB-99DF-4C03-B512-C43CDD20489F}"/>
    </ac:deMkLst>
    <p188:txBody>
      <a:bodyPr/>
      <a:lstStyle/>
      <a:p>
        <a:r>
          <a:rPr lang="es-MX"/>
          <a:t>Incluir solo Top5 y marcas Bayer</a:t>
        </a:r>
      </a:p>
    </p188:txBody>
  </p188:cm>
  <p188:cm id="{4C9D4031-8DB6-4E62-8763-621662DD81E6}" authorId="{09E4DA30-93A8-11AF-9121-96145B37829D}" created="2022-11-01T17:40:22.9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763444062" sldId="2147472700"/>
      <ac:graphicFrameMk id="25" creationId="{748B412C-65AF-401C-A123-954C9807BA5A}"/>
    </ac:deMkLst>
    <p188:txBody>
      <a:bodyPr/>
      <a:lstStyle/>
      <a:p>
        <a:r>
          <a:rPr lang="es-MX"/>
          <a:t>Incluir top 10 SOI y marcas Bayer</a:t>
        </a:r>
      </a:p>
    </p188:txBody>
  </p188:cm>
  <p188:cm id="{1F357192-BBDC-4402-BC5A-50DB1FFD5096}" authorId="{09E4DA30-93A8-11AF-9121-96145B37829D}" created="2022-11-01T17:59:14.99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763444062" sldId="2147472700"/>
      <ac:graphicFrameMk id="37" creationId="{E3329616-4A16-4E9F-BC32-F9AE170E7EE8}"/>
    </ac:deMkLst>
    <p188:txBody>
      <a:bodyPr/>
      <a:lstStyle/>
      <a:p>
        <a:r>
          <a:rPr lang="es-MX"/>
          <a:t>Resaltar los meses con mayor inversión</a:t>
        </a:r>
      </a:p>
    </p188:txBody>
  </p188:cm>
</p188:cmLst>
</file>

<file path=ppt/comments/modernComment_7FFFD53F_D60E9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9CEFC0E-826C-47EF-BDFC-75589AE1DAA9}" authorId="{09E4DA30-93A8-11AF-9121-96145B37829D}" created="2022-11-01T18:11:40.42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4028433" sldId="2147472703"/>
      <ac:graphicFrameMk id="24" creationId="{66184303-1F8E-4A2E-A570-DC1499360B59}"/>
    </ac:deMkLst>
    <p188:txBody>
      <a:bodyPr/>
      <a:lstStyle/>
      <a:p>
        <a:r>
          <a:rPr lang="es-MX"/>
          <a:t>Incluir top 10 SOI y marcas Bayer, de mayor a menor GRP's</a:t>
        </a:r>
      </a:p>
    </p188:txBody>
  </p188:cm>
</p188:cmLst>
</file>

<file path=ppt/comments/modernComment_7FFFD541_BA45809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127B748-3A30-E649-B28D-07D745E2E190}" authorId="{09E4DA30-93A8-11AF-9121-96145B37829D}" created="2022-11-01T16:03:22.78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25117074" sldId="2147472705"/>
      <ac:graphicFrameMk id="21" creationId="{9614D2A4-6A3E-4675-BF63-453B74AC726E}"/>
    </ac:deMkLst>
    <p188:txBody>
      <a:bodyPr/>
      <a:lstStyle/>
      <a:p>
        <a:r>
          <a:rPr lang="es-MX"/>
          <a:t>Incluir solo Top5 y marcas Bayer</a:t>
        </a:r>
      </a:p>
    </p188:txBody>
  </p188:cm>
  <p188:cm id="{227A2D1B-AAE2-BB47-85D5-1BBDED4E0651}" authorId="{09E4DA30-93A8-11AF-9121-96145B37829D}" created="2022-11-01T16:58:53.40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25117074" sldId="2147472705"/>
      <ac:graphicFrameMk id="19" creationId="{785628DB-99DF-4C03-B512-C43CDD20489F}"/>
    </ac:deMkLst>
    <p188:txBody>
      <a:bodyPr/>
      <a:lstStyle/>
      <a:p>
        <a:r>
          <a:rPr lang="es-MX"/>
          <a:t>Incluir solo Top5 y marcas Bayer</a:t>
        </a:r>
      </a:p>
    </p188:txBody>
  </p188:cm>
  <p188:cm id="{E9A29BC0-7D80-EE41-AD58-9B5D850EC3A2}" authorId="{09E4DA30-93A8-11AF-9121-96145B37829D}" created="2022-11-01T17:40:22.9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25117074" sldId="2147472705"/>
      <ac:graphicFrameMk id="25" creationId="{748B412C-65AF-401C-A123-954C9807BA5A}"/>
    </ac:deMkLst>
    <p188:txBody>
      <a:bodyPr/>
      <a:lstStyle/>
      <a:p>
        <a:r>
          <a:rPr lang="es-MX"/>
          <a:t>Incluir top 10 SOI y marcas Bayer</a:t>
        </a:r>
      </a:p>
    </p188:txBody>
  </p188:cm>
  <p188:cm id="{E5D5257D-EEBC-2E47-AB60-3686870EAA7C}" authorId="{09E4DA30-93A8-11AF-9121-96145B37829D}" created="2022-11-01T17:59:14.99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25117074" sldId="2147472705"/>
      <ac:graphicFrameMk id="37" creationId="{E3329616-4A16-4E9F-BC32-F9AE170E7EE8}"/>
    </ac:deMkLst>
    <p188:txBody>
      <a:bodyPr/>
      <a:lstStyle/>
      <a:p>
        <a:r>
          <a:rPr lang="es-MX"/>
          <a:t>Resaltar los meses con mayor inversión</a:t>
        </a:r>
      </a:p>
    </p188:txBody>
  </p188:cm>
</p188:cmLst>
</file>

<file path=ppt/comments/modernComment_7FFFD542_50A9AB5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D448F5A-2E14-DB45-9D60-31CE3DF8237A}" authorId="{09E4DA30-93A8-11AF-9121-96145B37829D}" created="2022-11-01T18:11:40.42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53296728" sldId="2147472706"/>
      <ac:graphicFrameMk id="24" creationId="{66184303-1F8E-4A2E-A570-DC1499360B59}"/>
    </ac:deMkLst>
    <p188:txBody>
      <a:bodyPr/>
      <a:lstStyle/>
      <a:p>
        <a:r>
          <a:rPr lang="es-MX"/>
          <a:t>Incluir top 10 SOI y marcas Bayer, de mayor a menor GRP's</a:t>
        </a:r>
      </a:p>
    </p188:txBody>
  </p188:cm>
</p188:cmLst>
</file>

<file path=ppt/comments/modernComment_7FFFD547_4BC3F05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127B748-3A30-E649-B28D-07D745E2E190}" authorId="{09E4DA30-93A8-11AF-9121-96145B37829D}" created="2022-11-01T16:03:22.78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271132244" sldId="2147472711"/>
      <ac:graphicFrameMk id="21" creationId="{9614D2A4-6A3E-4675-BF63-453B74AC726E}"/>
    </ac:deMkLst>
    <p188:txBody>
      <a:bodyPr/>
      <a:lstStyle/>
      <a:p>
        <a:r>
          <a:rPr lang="es-MX"/>
          <a:t>Incluir solo Top5 y marcas Bayer</a:t>
        </a:r>
      </a:p>
    </p188:txBody>
  </p188:cm>
  <p188:cm id="{227A2D1B-AAE2-BB47-85D5-1BBDED4E0651}" authorId="{09E4DA30-93A8-11AF-9121-96145B37829D}" created="2022-11-01T16:58:53.40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271132244" sldId="2147472711"/>
      <ac:graphicFrameMk id="19" creationId="{785628DB-99DF-4C03-B512-C43CDD20489F}"/>
    </ac:deMkLst>
    <p188:txBody>
      <a:bodyPr/>
      <a:lstStyle/>
      <a:p>
        <a:r>
          <a:rPr lang="es-MX"/>
          <a:t>Incluir solo Top5 y marcas Bayer</a:t>
        </a:r>
      </a:p>
    </p188:txBody>
  </p188:cm>
  <p188:cm id="{E9A29BC0-7D80-EE41-AD58-9B5D850EC3A2}" authorId="{09E4DA30-93A8-11AF-9121-96145B37829D}" created="2022-11-01T17:40:22.9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271132244" sldId="2147472711"/>
      <ac:graphicFrameMk id="25" creationId="{748B412C-65AF-401C-A123-954C9807BA5A}"/>
    </ac:deMkLst>
    <p188:txBody>
      <a:bodyPr/>
      <a:lstStyle/>
      <a:p>
        <a:r>
          <a:rPr lang="es-MX"/>
          <a:t>Incluir top 10 SOI y marcas Bayer</a:t>
        </a:r>
      </a:p>
    </p188:txBody>
  </p188:cm>
  <p188:cm id="{E5D5257D-EEBC-2E47-AB60-3686870EAA7C}" authorId="{09E4DA30-93A8-11AF-9121-96145B37829D}" created="2022-11-01T17:59:14.99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271132244" sldId="2147472711"/>
      <ac:graphicFrameMk id="37" creationId="{E3329616-4A16-4E9F-BC32-F9AE170E7EE8}"/>
    </ac:deMkLst>
    <p188:txBody>
      <a:bodyPr/>
      <a:lstStyle/>
      <a:p>
        <a:r>
          <a:rPr lang="es-MX"/>
          <a:t>Resaltar los meses con mayor inversión</a:t>
        </a:r>
      </a:p>
    </p188:txBody>
  </p188:cm>
</p188:cmLst>
</file>

<file path=ppt/comments/modernComment_7FFFD548_E8F489A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D448F5A-2E14-DB45-9D60-31CE3DF8237A}" authorId="{09E4DA30-93A8-11AF-9121-96145B37829D}" created="2022-11-01T18:11:40.42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53296728" sldId="2147472706"/>
      <ac:graphicFrameMk id="24" creationId="{66184303-1F8E-4A2E-A570-DC1499360B59}"/>
    </ac:deMkLst>
    <p188:txBody>
      <a:bodyPr/>
      <a:lstStyle/>
      <a:p>
        <a:r>
          <a:rPr lang="es-MX"/>
          <a:t>Incluir top 10 SOI y marcas Bayer, de mayor a menor GRP's</a:t>
        </a:r>
      </a:p>
    </p188:txBody>
  </p188:cm>
</p188:cmLst>
</file>

<file path=ppt/comments/modernComment_7FFFD54A_11BE02E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127B748-3A30-E649-B28D-07D745E2E190}" authorId="{09E4DA30-93A8-11AF-9121-96145B37829D}" created="2022-11-01T16:03:22.78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97665248" sldId="2147472714"/>
      <ac:graphicFrameMk id="21" creationId="{9614D2A4-6A3E-4675-BF63-453B74AC726E}"/>
    </ac:deMkLst>
    <p188:txBody>
      <a:bodyPr/>
      <a:lstStyle/>
      <a:p>
        <a:r>
          <a:rPr lang="es-MX"/>
          <a:t>Incluir solo Top5 y marcas Bayer</a:t>
        </a:r>
      </a:p>
    </p188:txBody>
  </p188:cm>
  <p188:cm id="{227A2D1B-AAE2-BB47-85D5-1BBDED4E0651}" authorId="{09E4DA30-93A8-11AF-9121-96145B37829D}" created="2022-11-01T16:58:53.40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97665248" sldId="2147472714"/>
      <ac:graphicFrameMk id="19" creationId="{785628DB-99DF-4C03-B512-C43CDD20489F}"/>
    </ac:deMkLst>
    <p188:txBody>
      <a:bodyPr/>
      <a:lstStyle/>
      <a:p>
        <a:r>
          <a:rPr lang="es-MX"/>
          <a:t>Incluir solo Top5 y marcas Bayer</a:t>
        </a:r>
      </a:p>
    </p188:txBody>
  </p188:cm>
  <p188:cm id="{E9A29BC0-7D80-EE41-AD58-9B5D850EC3A2}" authorId="{09E4DA30-93A8-11AF-9121-96145B37829D}" created="2022-11-01T17:40:22.9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25117074" sldId="2147472705"/>
      <ac:graphicFrameMk id="25" creationId="{748B412C-65AF-401C-A123-954C9807BA5A}"/>
    </ac:deMkLst>
    <p188:txBody>
      <a:bodyPr/>
      <a:lstStyle/>
      <a:p>
        <a:r>
          <a:rPr lang="es-MX"/>
          <a:t>Incluir top 10 SOI y marcas Bayer</a:t>
        </a:r>
      </a:p>
    </p188:txBody>
  </p188:cm>
  <p188:cm id="{E5D5257D-EEBC-2E47-AB60-3686870EAA7C}" authorId="{09E4DA30-93A8-11AF-9121-96145B37829D}" created="2022-11-01T17:59:14.99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297665248" sldId="2147472714"/>
      <ac:graphicFrameMk id="37" creationId="{E3329616-4A16-4E9F-BC32-F9AE170E7EE8}"/>
    </ac:deMkLst>
    <p188:txBody>
      <a:bodyPr/>
      <a:lstStyle/>
      <a:p>
        <a:r>
          <a:rPr lang="es-MX"/>
          <a:t>Resaltar los meses con mayor inversión</a:t>
        </a:r>
      </a:p>
    </p188:txBody>
  </p188:cm>
</p188:cmLst>
</file>

<file path=ppt/comments/modernComment_7FFFD54B_CCD2D60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D448F5A-2E14-DB45-9D60-31CE3DF8237A}" authorId="{09E4DA30-93A8-11AF-9121-96145B37829D}" created="2022-11-01T18:11:40.42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53296728" sldId="2147472706"/>
      <ac:graphicFrameMk id="24" creationId="{66184303-1F8E-4A2E-A570-DC1499360B59}"/>
    </ac:deMkLst>
    <p188:txBody>
      <a:bodyPr/>
      <a:lstStyle/>
      <a:p>
        <a:r>
          <a:rPr lang="es-MX"/>
          <a:t>Incluir top 10 SOI y marcas Bayer, de mayor a menor GRP's</a:t>
        </a:r>
      </a:p>
    </p188:txBody>
  </p188:cm>
</p188:cmLst>
</file>

<file path=ppt/comments/modernComment_7FFFD54D_BB465DAD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127B748-3A30-E649-B28D-07D745E2E190}" authorId="{09E4DA30-93A8-11AF-9121-96145B37829D}" created="2022-11-01T16:03:22.78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41950893" sldId="2147472717"/>
      <ac:graphicFrameMk id="21" creationId="{9614D2A4-6A3E-4675-BF63-453B74AC726E}"/>
    </ac:deMkLst>
    <p188:txBody>
      <a:bodyPr/>
      <a:lstStyle/>
      <a:p>
        <a:r>
          <a:rPr lang="es-MX"/>
          <a:t>Incluir solo Top5 y marcas Bayer</a:t>
        </a:r>
      </a:p>
    </p188:txBody>
  </p188:cm>
  <p188:cm id="{227A2D1B-AAE2-BB47-85D5-1BBDED4E0651}" authorId="{09E4DA30-93A8-11AF-9121-96145B37829D}" created="2022-11-01T16:58:53.40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41950893" sldId="2147472717"/>
      <ac:graphicFrameMk id="19" creationId="{785628DB-99DF-4C03-B512-C43CDD20489F}"/>
    </ac:deMkLst>
    <p188:txBody>
      <a:bodyPr/>
      <a:lstStyle/>
      <a:p>
        <a:r>
          <a:rPr lang="es-MX"/>
          <a:t>Incluir solo Top5 y marcas Bayer</a:t>
        </a:r>
      </a:p>
    </p188:txBody>
  </p188:cm>
  <p188:cm id="{E9A29BC0-7D80-EE41-AD58-9B5D850EC3A2}" authorId="{09E4DA30-93A8-11AF-9121-96145B37829D}" created="2022-11-01T17:40:22.9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41950893" sldId="2147472717"/>
      <ac:graphicFrameMk id="25" creationId="{748B412C-65AF-401C-A123-954C9807BA5A}"/>
    </ac:deMkLst>
    <p188:txBody>
      <a:bodyPr/>
      <a:lstStyle/>
      <a:p>
        <a:r>
          <a:rPr lang="es-MX"/>
          <a:t>Incluir top 10 SOI y marcas Bayer</a:t>
        </a:r>
      </a:p>
    </p188:txBody>
  </p188:cm>
  <p188:cm id="{E5D5257D-EEBC-2E47-AB60-3686870EAA7C}" authorId="{09E4DA30-93A8-11AF-9121-96145B37829D}" created="2022-11-01T17:59:14.99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41950893" sldId="2147472717"/>
      <ac:graphicFrameMk id="37" creationId="{E3329616-4A16-4E9F-BC32-F9AE170E7EE8}"/>
    </ac:deMkLst>
    <p188:txBody>
      <a:bodyPr/>
      <a:lstStyle/>
      <a:p>
        <a:r>
          <a:rPr lang="es-MX"/>
          <a:t>Resaltar los meses con mayor inversión</a:t>
        </a:r>
      </a:p>
    </p188:txBody>
  </p188:cm>
</p188:cmLst>
</file>

<file path=ppt/comments/modernComment_7FFFD54E_B51F1D4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D448F5A-2E14-DB45-9D60-31CE3DF8237A}" authorId="{09E4DA30-93A8-11AF-9121-96145B37829D}" created="2022-11-01T18:11:40.42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53296728" sldId="2147472706"/>
      <ac:graphicFrameMk id="24" creationId="{66184303-1F8E-4A2E-A570-DC1499360B59}"/>
    </ac:deMkLst>
    <p188:txBody>
      <a:bodyPr/>
      <a:lstStyle/>
      <a:p>
        <a:r>
          <a:rPr lang="es-MX"/>
          <a:t>Incluir top 10 SOI y marcas Bayer, de mayor a menor GRP's</a:t>
        </a:r>
      </a:p>
    </p188:txBody>
  </p188:cm>
</p188:cmLst>
</file>

<file path=ppt/comments/modernComment_7FFFD550_267B681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127B748-3A30-E649-B28D-07D745E2E190}" authorId="{09E4DA30-93A8-11AF-9121-96145B37829D}" created="2022-11-01T16:03:22.78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645621784" sldId="2147472720"/>
      <ac:graphicFrameMk id="21" creationId="{9614D2A4-6A3E-4675-BF63-453B74AC726E}"/>
    </ac:deMkLst>
    <p188:txBody>
      <a:bodyPr/>
      <a:lstStyle/>
      <a:p>
        <a:r>
          <a:rPr lang="es-MX"/>
          <a:t>Incluir solo Top5 y marcas Bayer</a:t>
        </a:r>
      </a:p>
    </p188:txBody>
  </p188:cm>
  <p188:cm id="{227A2D1B-AAE2-BB47-85D5-1BBDED4E0651}" authorId="{09E4DA30-93A8-11AF-9121-96145B37829D}" created="2022-11-01T16:58:53.40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645621784" sldId="2147472720"/>
      <ac:graphicFrameMk id="19" creationId="{785628DB-99DF-4C03-B512-C43CDD20489F}"/>
    </ac:deMkLst>
    <p188:txBody>
      <a:bodyPr/>
      <a:lstStyle/>
      <a:p>
        <a:r>
          <a:rPr lang="es-MX"/>
          <a:t>Incluir solo Top5 y marcas Bayer</a:t>
        </a:r>
      </a:p>
    </p188:txBody>
  </p188:cm>
  <p188:cm id="{E9A29BC0-7D80-EE41-AD58-9B5D850EC3A2}" authorId="{09E4DA30-93A8-11AF-9121-96145B37829D}" created="2022-11-01T17:40:22.9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645621784" sldId="2147472720"/>
      <ac:graphicFrameMk id="25" creationId="{748B412C-65AF-401C-A123-954C9807BA5A}"/>
    </ac:deMkLst>
    <p188:txBody>
      <a:bodyPr/>
      <a:lstStyle/>
      <a:p>
        <a:r>
          <a:rPr lang="es-MX"/>
          <a:t>Incluir top 10 SOI y marcas Bayer</a:t>
        </a:r>
      </a:p>
    </p188:txBody>
  </p188:cm>
  <p188:cm id="{E5D5257D-EEBC-2E47-AB60-3686870EAA7C}" authorId="{09E4DA30-93A8-11AF-9121-96145B37829D}" created="2022-11-01T17:59:14.99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645621784" sldId="2147472720"/>
      <ac:graphicFrameMk id="37" creationId="{E3329616-4A16-4E9F-BC32-F9AE170E7EE8}"/>
    </ac:deMkLst>
    <p188:txBody>
      <a:bodyPr/>
      <a:lstStyle/>
      <a:p>
        <a:r>
          <a:rPr lang="es-MX"/>
          <a:t>Resaltar los meses con mayor inversión</a:t>
        </a:r>
      </a:p>
    </p188:txBody>
  </p188:cm>
</p188:cmLst>
</file>

<file path=ppt/comments/modernComment_7FFFD551_BF47353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4D448F5A-2E14-DB45-9D60-31CE3DF8237A}" authorId="{09E4DA30-93A8-11AF-9121-96145B37829D}" created="2022-11-01T18:11:40.42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53296728" sldId="2147472706"/>
      <ac:graphicFrameMk id="24" creationId="{66184303-1F8E-4A2E-A570-DC1499360B59}"/>
    </ac:deMkLst>
    <p188:txBody>
      <a:bodyPr/>
      <a:lstStyle/>
      <a:p>
        <a:r>
          <a:rPr lang="es-MX"/>
          <a:t>Incluir top 10 SOI y marcas Bayer, de mayor a menor GRP's</a:t>
        </a:r>
      </a:p>
    </p188:txBody>
  </p188:cm>
</p188:cmLst>
</file>

<file path=ppt/comments/modernComment_7FFFD553_4B71FE3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C23AF5EE-8E25-7C41-A095-EAB36027BA72}" authorId="{09E4DA30-93A8-11AF-9121-96145B37829D}" created="2022-11-01T16:03:22.78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265761852" sldId="2147472723"/>
      <ac:graphicFrameMk id="21" creationId="{9614D2A4-6A3E-4675-BF63-453B74AC726E}"/>
    </ac:deMkLst>
    <p188:txBody>
      <a:bodyPr/>
      <a:lstStyle/>
      <a:p>
        <a:r>
          <a:rPr lang="es-MX"/>
          <a:t>Incluir solo Top5 y marcas Bayer</a:t>
        </a:r>
      </a:p>
    </p188:txBody>
  </p188:cm>
  <p188:cm id="{D52B56DA-9F99-AC49-9CA5-B81F9ADBC92C}" authorId="{09E4DA30-93A8-11AF-9121-96145B37829D}" created="2022-11-01T16:58:53.40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265761852" sldId="2147472723"/>
      <ac:graphicFrameMk id="19" creationId="{785628DB-99DF-4C03-B512-C43CDD20489F}"/>
    </ac:deMkLst>
    <p188:txBody>
      <a:bodyPr/>
      <a:lstStyle/>
      <a:p>
        <a:r>
          <a:rPr lang="es-MX"/>
          <a:t>Incluir solo Top5 y marcas Bayer</a:t>
        </a:r>
      </a:p>
    </p188:txBody>
  </p188:cm>
  <p188:cm id="{DDA26BFB-583D-034B-B013-0B0D21979579}" authorId="{09E4DA30-93A8-11AF-9121-96145B37829D}" created="2022-11-01T17:40:22.9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265761852" sldId="2147472723"/>
      <ac:graphicFrameMk id="25" creationId="{748B412C-65AF-401C-A123-954C9807BA5A}"/>
    </ac:deMkLst>
    <p188:txBody>
      <a:bodyPr/>
      <a:lstStyle/>
      <a:p>
        <a:r>
          <a:rPr lang="es-MX"/>
          <a:t>Incluir top 10 SOI y marcas Bayer</a:t>
        </a:r>
      </a:p>
    </p188:txBody>
  </p188:cm>
  <p188:cm id="{304B136A-F6D7-C94C-8E40-B3CF6F02B272}" authorId="{09E4DA30-93A8-11AF-9121-96145B37829D}" created="2022-11-01T17:59:14.99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265761852" sldId="2147472723"/>
      <ac:graphicFrameMk id="37" creationId="{E3329616-4A16-4E9F-BC32-F9AE170E7EE8}"/>
    </ac:deMkLst>
    <p188:txBody>
      <a:bodyPr/>
      <a:lstStyle/>
      <a:p>
        <a:r>
          <a:rPr lang="es-MX"/>
          <a:t>Resaltar los meses con mayor inversión</a:t>
        </a:r>
      </a:p>
    </p188:txBody>
  </p188:cm>
</p188:cmLst>
</file>

<file path=ppt/comments/modernComment_7FFFD554_61E5FEB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4B0EB49-9A0A-BF45-BE30-EB3DF0E53B93}" authorId="{09E4DA30-93A8-11AF-9121-96145B37829D}" created="2022-11-01T18:11:40.42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53296728" sldId="2147472706"/>
      <ac:graphicFrameMk id="24" creationId="{66184303-1F8E-4A2E-A570-DC1499360B59}"/>
    </ac:deMkLst>
    <p188:txBody>
      <a:bodyPr/>
      <a:lstStyle/>
      <a:p>
        <a:r>
          <a:rPr lang="es-MX"/>
          <a:t>Incluir top 10 SOI y marcas Bayer, de mayor a menor GRP's</a:t>
        </a:r>
      </a:p>
    </p188:txBody>
  </p188:cm>
</p188:cmLst>
</file>

<file path=ppt/comments/modernComment_7FFFD556_2E00DD3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7E96752-3127-7646-ADCE-441CA0EF9192}" authorId="{09E4DA30-93A8-11AF-9121-96145B37829D}" created="2022-11-01T16:03:22.785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771808566" sldId="2147472726"/>
      <ac:graphicFrameMk id="21" creationId="{9614D2A4-6A3E-4675-BF63-453B74AC726E}"/>
    </ac:deMkLst>
    <p188:txBody>
      <a:bodyPr/>
      <a:lstStyle/>
      <a:p>
        <a:r>
          <a:rPr lang="es-MX"/>
          <a:t>Incluir solo Top5 y marcas Bayer</a:t>
        </a:r>
      </a:p>
    </p188:txBody>
  </p188:cm>
  <p188:cm id="{51BAB727-26D1-4D4B-99D2-B177FDABC45F}" authorId="{09E4DA30-93A8-11AF-9121-96145B37829D}" created="2022-11-01T16:58:53.404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771808566" sldId="2147472726"/>
      <ac:graphicFrameMk id="19" creationId="{785628DB-99DF-4C03-B512-C43CDD20489F}"/>
    </ac:deMkLst>
    <p188:txBody>
      <a:bodyPr/>
      <a:lstStyle/>
      <a:p>
        <a:r>
          <a:rPr lang="es-MX"/>
          <a:t>Incluir solo Top5 y marcas Bayer</a:t>
        </a:r>
      </a:p>
    </p188:txBody>
  </p188:cm>
  <p188:cm id="{C8A3B49D-A2D7-AC41-BC4C-611046FDEEFE}" authorId="{09E4DA30-93A8-11AF-9121-96145B37829D}" created="2022-11-01T17:40:22.91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771808566" sldId="2147472726"/>
      <ac:graphicFrameMk id="25" creationId="{748B412C-65AF-401C-A123-954C9807BA5A}"/>
    </ac:deMkLst>
    <p188:txBody>
      <a:bodyPr/>
      <a:lstStyle/>
      <a:p>
        <a:r>
          <a:rPr lang="es-MX"/>
          <a:t>Incluir top 10 SOI y marcas Bayer</a:t>
        </a:r>
      </a:p>
    </p188:txBody>
  </p188:cm>
  <p188:cm id="{1C1EA308-9213-2E41-91DC-8A813353DB2E}" authorId="{09E4DA30-93A8-11AF-9121-96145B37829D}" created="2022-11-01T17:59:14.997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771808566" sldId="2147472726"/>
      <ac:graphicFrameMk id="37" creationId="{E3329616-4A16-4E9F-BC32-F9AE170E7EE8}"/>
    </ac:deMkLst>
    <p188:txBody>
      <a:bodyPr/>
      <a:lstStyle/>
      <a:p>
        <a:r>
          <a:rPr lang="es-MX"/>
          <a:t>Resaltar los meses con mayor inversión</a:t>
        </a:r>
      </a:p>
    </p188:txBody>
  </p188:cm>
</p188:cmLst>
</file>

<file path=ppt/comments/modernComment_7FFFD557_974BD9A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99D9D2B-9477-F94F-AA9B-DB19201D344F}" authorId="{09E4DA30-93A8-11AF-9121-96145B37829D}" created="2022-11-01T18:11:40.428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1353296728" sldId="2147472706"/>
      <ac:graphicFrameMk id="24" creationId="{66184303-1F8E-4A2E-A570-DC1499360B59}"/>
    </ac:deMkLst>
    <p188:txBody>
      <a:bodyPr/>
      <a:lstStyle/>
      <a:p>
        <a:r>
          <a:rPr lang="es-MX"/>
          <a:t>Incluir top 10 SOI y marcas Bayer, de mayor a menor GRP's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image" Target="../media/image27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image" Target="../media/image35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40.emf"/><Relationship Id="rId1" Type="http://schemas.openxmlformats.org/officeDocument/2006/relationships/image" Target="../media/image39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45.emf"/><Relationship Id="rId1" Type="http://schemas.openxmlformats.org/officeDocument/2006/relationships/image" Target="../media/image44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image" Target="../media/image47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50.emf"/><Relationship Id="rId1" Type="http://schemas.openxmlformats.org/officeDocument/2006/relationships/image" Target="../media/image49.emf"/></Relationships>
</file>

<file path=ppt/drawings/_rels/vmlDrawing9.vml.rels><?xml version="1.0" encoding="UTF-8" standalone="yes"?>
<Relationships xmlns="http://schemas.openxmlformats.org/package/2006/relationships"><Relationship Id="rId2" Type="http://schemas.openxmlformats.org/officeDocument/2006/relationships/image" Target="../media/image52.emf"/><Relationship Id="rId1" Type="http://schemas.openxmlformats.org/officeDocument/2006/relationships/image" Target="../media/image5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4013</cdr:x>
      <cdr:y>0.00662</cdr:y>
    </cdr:from>
    <cdr:to>
      <cdr:x>0.62914</cdr:x>
      <cdr:y>0.0854</cdr:y>
    </cdr:to>
    <cdr:sp macro="" textlink="">
      <cdr:nvSpPr>
        <cdr:cNvPr id="2" name="Title 1">
          <a:extLst xmlns:a="http://schemas.openxmlformats.org/drawingml/2006/main">
            <a:ext uri="{FF2B5EF4-FFF2-40B4-BE49-F238E27FC236}">
              <a16:creationId xmlns:a16="http://schemas.microsoft.com/office/drawing/2014/main" id="{29EF83AB-1E0C-4DB9-9318-05ED0E88F5FA}"/>
            </a:ext>
          </a:extLst>
        </cdr:cNvPr>
        <cdr:cNvSpPr txBox="1">
          <a:spLocks xmlns:a="http://schemas.openxmlformats.org/drawingml/2006/main"/>
        </cdr:cNvSpPr>
      </cdr:nvSpPr>
      <cdr:spPr>
        <a:xfrm xmlns:a="http://schemas.openxmlformats.org/drawingml/2006/main">
          <a:off x="3225080" y="22829"/>
          <a:ext cx="2740340" cy="27151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="horz" wrap="square" lIns="91440" tIns="45720" rIns="91440" bIns="45720" rtlCol="0" anchor="ctr">
          <a:noAutofit/>
        </a:bodyPr>
        <a:lstStyle xmlns:a="http://schemas.openxmlformats.org/drawingml/2006/main">
          <a:defPPr>
            <a:defRPr lang="es-MX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e-CH" sz="1400" b="1" dirty="0">
              <a:latin typeface="Abadi" panose="020B0604020104020204" pitchFamily="34" charset="0"/>
            </a:rPr>
            <a:t>INVESTMENT BY CATEGORY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0E19D1-079D-438E-81C9-264AAD464FB8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6302AE-B280-4AB0-BB5F-1FE832526336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5853850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33686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662359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832575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03806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/>
              <a:t>Medical CRM Data</a:t>
            </a:r>
          </a:p>
          <a:p>
            <a:r>
              <a:rPr lang="es-ES" dirty="0" err="1"/>
              <a:t>Implementation</a:t>
            </a:r>
            <a:r>
              <a:rPr lang="es-ES" dirty="0"/>
              <a:t> </a:t>
            </a:r>
            <a:r>
              <a:rPr lang="es-ES" dirty="0" err="1"/>
              <a:t>desig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Centro</a:t>
            </a:r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49586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/>
              <a:t>Medical CRM Data</a:t>
            </a:r>
          </a:p>
          <a:p>
            <a:r>
              <a:rPr lang="es-ES" dirty="0" err="1"/>
              <a:t>Implementation</a:t>
            </a:r>
            <a:r>
              <a:rPr lang="es-ES" dirty="0"/>
              <a:t> </a:t>
            </a:r>
            <a:r>
              <a:rPr lang="es-ES" dirty="0" err="1"/>
              <a:t>desig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Centro</a:t>
            </a:r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89964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390992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56667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5695138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365706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/>
              <a:t>Medical CRM Data</a:t>
            </a:r>
          </a:p>
          <a:p>
            <a:r>
              <a:rPr lang="es-ES" dirty="0" err="1"/>
              <a:t>Implementation</a:t>
            </a:r>
            <a:r>
              <a:rPr lang="es-ES" dirty="0"/>
              <a:t> </a:t>
            </a:r>
            <a:r>
              <a:rPr lang="es-ES" dirty="0" err="1"/>
              <a:t>desig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Centro</a:t>
            </a:r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20097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/>
              <a:t>Medical CRM Data</a:t>
            </a:r>
          </a:p>
          <a:p>
            <a:r>
              <a:rPr lang="es-ES" dirty="0" err="1"/>
              <a:t>Implementation</a:t>
            </a:r>
            <a:r>
              <a:rPr lang="es-ES" dirty="0"/>
              <a:t> </a:t>
            </a:r>
            <a:r>
              <a:rPr lang="es-ES" dirty="0" err="1"/>
              <a:t>desig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Centro</a:t>
            </a:r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26019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6476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239282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/>
              <a:t>Medical CRM Data</a:t>
            </a:r>
          </a:p>
          <a:p>
            <a:r>
              <a:rPr lang="es-ES" dirty="0" err="1"/>
              <a:t>Implementation</a:t>
            </a:r>
            <a:r>
              <a:rPr lang="es-ES" dirty="0"/>
              <a:t> </a:t>
            </a:r>
            <a:r>
              <a:rPr lang="es-ES" dirty="0" err="1"/>
              <a:t>desig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Centro</a:t>
            </a:r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623386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59724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/>
              <a:t>Medical CRM Data</a:t>
            </a:r>
          </a:p>
          <a:p>
            <a:r>
              <a:rPr lang="es-ES" dirty="0" err="1"/>
              <a:t>Implementation</a:t>
            </a:r>
            <a:r>
              <a:rPr lang="es-ES" dirty="0"/>
              <a:t> </a:t>
            </a:r>
            <a:r>
              <a:rPr lang="es-ES" dirty="0" err="1"/>
              <a:t>desig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Centro</a:t>
            </a:r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716581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F3CE37-8989-471A-BC57-D3CAAD03839D}" type="slidenum">
              <a:rPr kumimoji="0" lang="en-US" sz="7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55039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/>
              <a:t>Medical CRM Data</a:t>
            </a:r>
          </a:p>
          <a:p>
            <a:r>
              <a:rPr lang="es-ES" dirty="0" err="1"/>
              <a:t>Implementation</a:t>
            </a:r>
            <a:r>
              <a:rPr lang="es-ES" dirty="0"/>
              <a:t> </a:t>
            </a:r>
            <a:r>
              <a:rPr lang="es-ES" dirty="0" err="1"/>
              <a:t>desig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Centro</a:t>
            </a:r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305733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/>
              <a:t>Medical CRM Data</a:t>
            </a:r>
          </a:p>
          <a:p>
            <a:r>
              <a:rPr lang="es-ES" dirty="0" err="1"/>
              <a:t>Implementation</a:t>
            </a:r>
            <a:r>
              <a:rPr lang="es-ES" dirty="0"/>
              <a:t> </a:t>
            </a:r>
            <a:r>
              <a:rPr lang="es-ES" dirty="0" err="1"/>
              <a:t>desig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Centro</a:t>
            </a:r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39240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83081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/>
              <a:t>Medical CRM Data</a:t>
            </a:r>
          </a:p>
          <a:p>
            <a:r>
              <a:rPr lang="es-ES" dirty="0" err="1"/>
              <a:t>Implementation</a:t>
            </a:r>
            <a:r>
              <a:rPr lang="es-ES" dirty="0"/>
              <a:t> </a:t>
            </a:r>
            <a:r>
              <a:rPr lang="es-ES" dirty="0" err="1"/>
              <a:t>desig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Centro</a:t>
            </a:r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71889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 dirty="0"/>
              <a:t>Medical CRM Data</a:t>
            </a:r>
          </a:p>
          <a:p>
            <a:r>
              <a:rPr lang="es-ES" dirty="0" err="1"/>
              <a:t>Implementation</a:t>
            </a:r>
            <a:r>
              <a:rPr lang="es-ES" dirty="0"/>
              <a:t> </a:t>
            </a:r>
            <a:r>
              <a:rPr lang="es-ES" dirty="0" err="1"/>
              <a:t>design</a:t>
            </a:r>
            <a:r>
              <a:rPr lang="es-ES" dirty="0"/>
              <a:t> </a:t>
            </a:r>
            <a:r>
              <a:rPr lang="es-ES" dirty="0" err="1"/>
              <a:t>for</a:t>
            </a:r>
            <a:r>
              <a:rPr lang="es-ES" dirty="0"/>
              <a:t> Centro</a:t>
            </a:r>
            <a:endParaRPr lang="es-419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2340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48570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419"/>
              <a:t>Medical CRM Data</a:t>
            </a:r>
          </a:p>
          <a:p>
            <a:r>
              <a:rPr lang="es-ES" err="1"/>
              <a:t>Implementation</a:t>
            </a:r>
            <a:r>
              <a:rPr lang="es-ES"/>
              <a:t> </a:t>
            </a:r>
            <a:r>
              <a:rPr lang="es-ES" err="1"/>
              <a:t>design</a:t>
            </a:r>
            <a:r>
              <a:rPr lang="es-ES"/>
              <a:t> </a:t>
            </a:r>
            <a:r>
              <a:rPr lang="es-ES" err="1"/>
              <a:t>for</a:t>
            </a:r>
            <a:r>
              <a:rPr lang="es-ES"/>
              <a:t> Centro</a:t>
            </a:r>
            <a:endParaRPr lang="es-419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C3DB20-82BD-4A79-8C3F-505F106AE904}" type="slidenum">
              <a:rPr kumimoji="0" lang="es-E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s-E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36127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2A96D4-A411-46CE-941A-3F72D54FFA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0C89485-97F4-4573-ABD0-F3EA525F94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s-MX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014C79-2EC2-4ACD-B1A4-93E42E9204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D7737-EB15-4ED0-BB24-528EE5274129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D46A2D-10AC-4E27-BB7B-C306493D21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2331CC-EA99-4C89-B463-CCC1592D38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77E4D-5E1E-4149-ADE7-3DF7DF27C4F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824466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ED4976-020D-4535-B18A-77711AFB1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288F35-65E9-49B5-AF1A-D7545F7F7C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FE18FB0-F912-4CD5-BA45-E2E1EA275F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D7737-EB15-4ED0-BB24-528EE5274129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1BB37-4291-44A1-AFA9-520DB74273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C7AC11-E12A-4B11-B6D4-D78D695962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77E4D-5E1E-4149-ADE7-3DF7DF27C4F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261760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175A720-226C-4887-A138-E60EDB14862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3255E54-DD00-4DCA-B159-ACC0B53B5FC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9E052C-0D3C-4CA9-B237-11347AE782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D7737-EB15-4ED0-BB24-528EE5274129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3A4A226-F60D-4E28-B323-E13DE01616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C3D664-6138-441C-AF30-3E23657A92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77E4D-5E1E-4149-ADE7-3DF7DF27C4F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319803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1949" y="181938"/>
            <a:ext cx="10799867" cy="864000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195870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lvl="0" indent="0"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pPr marL="0" lvl="0" indent="0">
              <a:buSzPts val="700"/>
            </a:pPr>
            <a:fld id="{EEAD9179-7A6B-4268-BEB2-F3B8EB06115B}" type="slidenum">
              <a:rPr lang="en-US" sz="700" noProof="0" smtClean="0"/>
              <a:pPr marL="0" lvl="0" indent="0">
                <a:buSzPts val="700"/>
              </a:pPr>
              <a:t>‹Nº›</a:t>
            </a:fld>
            <a:endParaRPr lang="en-US" sz="7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425" y="615600"/>
            <a:ext cx="39965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40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45A2FEF8-95DF-4328-850D-3F7840A62554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1C7AE59-CE31-4DC2-8D45-B623A4CAAEFE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3F626E8-4D4D-4477-BEF3-9372D1A5AD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2" name="Logoschutz" hidden="1">
            <a:extLst>
              <a:ext uri="{FF2B5EF4-FFF2-40B4-BE49-F238E27FC236}">
                <a16:creationId xmlns:a16="http://schemas.microsoft.com/office/drawing/2014/main" id="{C9A9C5E1-5EC5-4E10-A801-6F56DB71E6CD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72643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41E47122-9C53-42B4-9E9A-C68969B7C111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C0614FA-2289-4D50-861D-D1CE2042502D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2CD53346-3B88-4ECD-BC3C-B158CECCD4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2FE56050-78D4-446C-87C6-B9C42DDC4070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534846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8331062-53AF-412B-A235-6DCBA819F08B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5926C9E-C53A-4C47-82E1-8FDB0CFFD6DF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4F895202-4A4D-43A2-B3BF-4253EA64031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4113408" y="0"/>
            <a:ext cx="8080975" cy="6858000"/>
          </a:xfrm>
          <a:custGeom>
            <a:avLst/>
            <a:gdLst>
              <a:gd name="connsiteX0" fmla="*/ 1331361 w 8079923"/>
              <a:gd name="connsiteY0" fmla="*/ 0 h 6858000"/>
              <a:gd name="connsiteX1" fmla="*/ 8077543 w 8079923"/>
              <a:gd name="connsiteY1" fmla="*/ 0 h 6858000"/>
              <a:gd name="connsiteX2" fmla="*/ 8079923 w 8079923"/>
              <a:gd name="connsiteY2" fmla="*/ 6003673 h 6858000"/>
              <a:gd name="connsiteX3" fmla="*/ 3240429 w 8079923"/>
              <a:gd name="connsiteY3" fmla="*/ 6858000 h 6858000"/>
              <a:gd name="connsiteX4" fmla="*/ 0 w 8079923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079923" h="6858000">
                <a:moveTo>
                  <a:pt x="1331361" y="0"/>
                </a:moveTo>
                <a:lnTo>
                  <a:pt x="8077543" y="0"/>
                </a:lnTo>
                <a:cubicBezTo>
                  <a:pt x="8077543" y="1913118"/>
                  <a:pt x="8079923" y="4090555"/>
                  <a:pt x="8079923" y="6003673"/>
                </a:cubicBezTo>
                <a:lnTo>
                  <a:pt x="3240429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13" name="Logoschutz" hidden="1">
            <a:extLst>
              <a:ext uri="{FF2B5EF4-FFF2-40B4-BE49-F238E27FC236}">
                <a16:creationId xmlns:a16="http://schemas.microsoft.com/office/drawing/2014/main" id="{82EE1829-716E-40CB-A4A0-CAB36B358641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59445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 bwMode="gray">
          <a:xfrm>
            <a:off x="1977022" y="403540"/>
            <a:ext cx="9625255" cy="86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5" name="Text Placeholder 54"/>
          <p:cNvSpPr>
            <a:spLocks noGrp="1"/>
          </p:cNvSpPr>
          <p:nvPr>
            <p:ph type="body" sz="quarter" idx="13"/>
          </p:nvPr>
        </p:nvSpPr>
        <p:spPr bwMode="gray">
          <a:xfrm>
            <a:off x="2005598" y="1843721"/>
            <a:ext cx="4680609" cy="4641030"/>
          </a:xfrm>
        </p:spPr>
        <p:txBody>
          <a:bodyPr/>
          <a:lstStyle>
            <a:lvl1pPr marL="270000" indent="-270000">
              <a:spcBef>
                <a:spcPts val="1800"/>
              </a:spcBef>
              <a:spcAft>
                <a:spcPts val="0"/>
              </a:spcAft>
              <a:buFontTx/>
              <a:buBlip>
                <a:blip r:embed="rId3"/>
              </a:buBlip>
              <a:defRPr sz="2000"/>
            </a:lvl1pPr>
            <a:lvl2pPr marL="54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4"/>
              </a:buBlip>
              <a:defRPr sz="2000"/>
            </a:lvl2pPr>
            <a:lvl3pPr marL="81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5"/>
              </a:buBlip>
              <a:defRPr sz="2000"/>
            </a:lvl3pPr>
            <a:lvl4pPr marL="1080000" indent="-270000">
              <a:spcBef>
                <a:spcPts val="600"/>
              </a:spcBef>
              <a:spcAft>
                <a:spcPts val="0"/>
              </a:spcAft>
              <a:buFontTx/>
              <a:buBlip>
                <a:blip r:embed="rId6"/>
              </a:buBlip>
              <a:defRPr sz="2000"/>
            </a:lvl4pPr>
            <a:lvl5pPr>
              <a:spcBef>
                <a:spcPts val="600"/>
              </a:spcBef>
              <a:spcAft>
                <a:spcPts val="0"/>
              </a:spcAft>
              <a:defRPr sz="2000"/>
            </a:lvl5pPr>
            <a:lvl6pPr>
              <a:spcBef>
                <a:spcPts val="600"/>
              </a:spcBef>
              <a:spcAft>
                <a:spcPts val="0"/>
              </a:spcAft>
              <a:defRPr sz="2000"/>
            </a:lvl6pPr>
            <a:lvl7pPr>
              <a:spcBef>
                <a:spcPts val="600"/>
              </a:spcBef>
              <a:spcAft>
                <a:spcPts val="0"/>
              </a:spcAft>
              <a:defRPr sz="2000"/>
            </a:lvl7pPr>
            <a:lvl8pPr>
              <a:spcBef>
                <a:spcPts val="600"/>
              </a:spcBef>
              <a:spcAft>
                <a:spcPts val="0"/>
              </a:spcAft>
              <a:defRPr sz="2000"/>
            </a:lvl8pPr>
            <a:lvl9pPr>
              <a:spcBef>
                <a:spcPts val="600"/>
              </a:spcBef>
              <a:spcAft>
                <a:spcPts val="0"/>
              </a:spcAft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F8919A7-CCFC-4DF0-82D9-A3367B6CC56B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>
          <a:xfrm>
            <a:off x="974800" y="6617933"/>
            <a:ext cx="5711408" cy="10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>
          <a:xfrm>
            <a:off x="195869" y="6617933"/>
            <a:ext cx="392377" cy="108000"/>
          </a:xfrm>
        </p:spPr>
        <p:txBody>
          <a:bodyPr/>
          <a:lstStyle/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923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/>
          <p:cNvGrpSpPr/>
          <p:nvPr/>
        </p:nvGrpSpPr>
        <p:grpSpPr bwMode="black">
          <a:xfrm>
            <a:off x="7805252" y="1"/>
            <a:ext cx="4386748" cy="6858000"/>
            <a:chOff x="7804236" y="1"/>
            <a:chExt cx="4386177" cy="6858000"/>
          </a:xfrm>
        </p:grpSpPr>
        <p:sp>
          <p:nvSpPr>
            <p:cNvPr id="19" name="Freeform 6"/>
            <p:cNvSpPr>
              <a:spLocks/>
            </p:cNvSpPr>
            <p:nvPr userDrawn="1"/>
          </p:nvSpPr>
          <p:spPr bwMode="black">
            <a:xfrm>
              <a:off x="7804236" y="1"/>
              <a:ext cx="2489310" cy="6858000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black">
            <a:xfrm>
              <a:off x="8456276" y="1408976"/>
              <a:ext cx="3734137" cy="5449024"/>
            </a:xfrm>
            <a:custGeom>
              <a:avLst/>
              <a:gdLst>
                <a:gd name="T0" fmla="*/ 0 w 2785"/>
                <a:gd name="T1" fmla="*/ 4064 h 4064"/>
                <a:gd name="T2" fmla="*/ 11 w 2785"/>
                <a:gd name="T3" fmla="*/ 4064 h 4064"/>
                <a:gd name="T4" fmla="*/ 2785 w 2785"/>
                <a:gd name="T5" fmla="*/ 17 h 4064"/>
                <a:gd name="T6" fmla="*/ 2785 w 2785"/>
                <a:gd name="T7" fmla="*/ 0 h 4064"/>
                <a:gd name="T8" fmla="*/ 0 w 2785"/>
                <a:gd name="T9" fmla="*/ 4064 h 4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5" h="4064">
                  <a:moveTo>
                    <a:pt x="0" y="4064"/>
                  </a:moveTo>
                  <a:lnTo>
                    <a:pt x="11" y="4064"/>
                  </a:lnTo>
                  <a:lnTo>
                    <a:pt x="2785" y="17"/>
                  </a:lnTo>
                  <a:lnTo>
                    <a:pt x="2785" y="0"/>
                  </a:lnTo>
                  <a:lnTo>
                    <a:pt x="0" y="406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sz="1800"/>
            </a:p>
          </p:txBody>
        </p:sp>
      </p:grpSp>
      <p:sp>
        <p:nvSpPr>
          <p:cNvPr id="6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236350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254">
          <p15:clr>
            <a:srgbClr val="FBAE40"/>
          </p15:clr>
        </p15:guide>
        <p15:guide id="2" orient="horz" pos="4086">
          <p15:clr>
            <a:srgbClr val="FBAE40"/>
          </p15:clr>
        </p15:guide>
        <p15:guide id="3" orient="horz" pos="1162">
          <p15:clr>
            <a:srgbClr val="FBAE40"/>
          </p15:clr>
        </p15:guide>
        <p15:guide id="4" pos="421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invGray">
          <a:xfrm>
            <a:off x="0" y="0"/>
            <a:ext cx="2104849" cy="6861175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1175"/>
              <a:gd name="connsiteX1" fmla="*/ 2104575 w 2104575"/>
              <a:gd name="connsiteY1" fmla="*/ 0 h 6861175"/>
              <a:gd name="connsiteX2" fmla="*/ 650732 w 2104575"/>
              <a:gd name="connsiteY2" fmla="*/ 6861175 h 6861175"/>
              <a:gd name="connsiteX3" fmla="*/ 0 w 2104575"/>
              <a:gd name="connsiteY3" fmla="*/ 6858000 h 6861175"/>
              <a:gd name="connsiteX4" fmla="*/ 0 w 2104575"/>
              <a:gd name="connsiteY4" fmla="*/ 0 h 6861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1175">
                <a:moveTo>
                  <a:pt x="0" y="0"/>
                </a:moveTo>
                <a:lnTo>
                  <a:pt x="2104575" y="0"/>
                </a:lnTo>
                <a:lnTo>
                  <a:pt x="650732" y="6861175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E61A5D"/>
              </a:gs>
              <a:gs pos="50000">
                <a:srgbClr val="E61A5D"/>
              </a:gs>
              <a:gs pos="84000">
                <a:srgbClr val="E61A5D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8EECD47-0109-454D-AB8E-9B4772DEF7E9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6846988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1810185" y="1473903"/>
            <a:ext cx="4140539" cy="1440753"/>
          </a:xfrm>
        </p:spPr>
        <p:txBody>
          <a:bodyPr anchor="b"/>
          <a:lstStyle>
            <a:lvl1pPr algn="r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 bwMode="black">
          <a:xfrm>
            <a:off x="4710724" y="1"/>
            <a:ext cx="2593848" cy="6858000"/>
            <a:chOff x="4710111" y="1"/>
            <a:chExt cx="2593510" cy="6858000"/>
          </a:xfrm>
        </p:grpSpPr>
        <p:sp>
          <p:nvSpPr>
            <p:cNvPr id="50" name="Freeform 6"/>
            <p:cNvSpPr>
              <a:spLocks/>
            </p:cNvSpPr>
            <p:nvPr userDrawn="1"/>
          </p:nvSpPr>
          <p:spPr bwMode="black">
            <a:xfrm>
              <a:off x="4710111" y="1"/>
              <a:ext cx="2393982" cy="6858000"/>
            </a:xfrm>
            <a:custGeom>
              <a:avLst/>
              <a:gdLst>
                <a:gd name="T0" fmla="*/ 9 w 1781"/>
                <a:gd name="T1" fmla="*/ 5102 h 5102"/>
                <a:gd name="T2" fmla="*/ 1781 w 1781"/>
                <a:gd name="T3" fmla="*/ 0 h 5102"/>
                <a:gd name="T4" fmla="*/ 1770 w 1781"/>
                <a:gd name="T5" fmla="*/ 0 h 5102"/>
                <a:gd name="T6" fmla="*/ 0 w 1781"/>
                <a:gd name="T7" fmla="*/ 5102 h 5102"/>
                <a:gd name="T8" fmla="*/ 9 w 1781"/>
                <a:gd name="T9" fmla="*/ 5102 h 5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81" h="5102">
                  <a:moveTo>
                    <a:pt x="9" y="5102"/>
                  </a:moveTo>
                  <a:lnTo>
                    <a:pt x="1781" y="0"/>
                  </a:lnTo>
                  <a:lnTo>
                    <a:pt x="1770" y="0"/>
                  </a:lnTo>
                  <a:lnTo>
                    <a:pt x="0" y="5102"/>
                  </a:lnTo>
                  <a:lnTo>
                    <a:pt x="9" y="5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51" name="Freeform 12"/>
            <p:cNvSpPr>
              <a:spLocks/>
            </p:cNvSpPr>
            <p:nvPr userDrawn="1"/>
          </p:nvSpPr>
          <p:spPr bwMode="black">
            <a:xfrm>
              <a:off x="5945695" y="2"/>
              <a:ext cx="1357926" cy="6857998"/>
            </a:xfrm>
            <a:custGeom>
              <a:avLst/>
              <a:gdLst>
                <a:gd name="T0" fmla="*/ 9 w 1013"/>
                <a:gd name="T1" fmla="*/ 5116 h 5116"/>
                <a:gd name="T2" fmla="*/ 1013 w 1013"/>
                <a:gd name="T3" fmla="*/ 0 h 5116"/>
                <a:gd name="T4" fmla="*/ 1004 w 1013"/>
                <a:gd name="T5" fmla="*/ 0 h 5116"/>
                <a:gd name="T6" fmla="*/ 0 w 1013"/>
                <a:gd name="T7" fmla="*/ 5116 h 5116"/>
                <a:gd name="T8" fmla="*/ 9 w 1013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3" h="5116">
                  <a:moveTo>
                    <a:pt x="9" y="5116"/>
                  </a:moveTo>
                  <a:lnTo>
                    <a:pt x="1013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322378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Group 35"/>
          <p:cNvGrpSpPr/>
          <p:nvPr/>
        </p:nvGrpSpPr>
        <p:grpSpPr bwMode="black">
          <a:xfrm>
            <a:off x="5740674" y="0"/>
            <a:ext cx="6451327" cy="6858000"/>
            <a:chOff x="-7368753" y="-1854009"/>
            <a:chExt cx="6299342" cy="6697306"/>
          </a:xfrm>
        </p:grpSpPr>
        <p:sp>
          <p:nvSpPr>
            <p:cNvPr id="37" name="Freeform 6"/>
            <p:cNvSpPr>
              <a:spLocks/>
            </p:cNvSpPr>
            <p:nvPr userDrawn="1"/>
          </p:nvSpPr>
          <p:spPr bwMode="black">
            <a:xfrm>
              <a:off x="-3543591" y="1231517"/>
              <a:ext cx="2474180" cy="3611780"/>
            </a:xfrm>
            <a:custGeom>
              <a:avLst/>
              <a:gdLst>
                <a:gd name="T0" fmla="*/ 0 w 1890"/>
                <a:gd name="T1" fmla="*/ 2759 h 2759"/>
                <a:gd name="T2" fmla="*/ 12 w 1890"/>
                <a:gd name="T3" fmla="*/ 2759 h 2759"/>
                <a:gd name="T4" fmla="*/ 1890 w 1890"/>
                <a:gd name="T5" fmla="*/ 17 h 2759"/>
                <a:gd name="T6" fmla="*/ 1890 w 1890"/>
                <a:gd name="T7" fmla="*/ 0 h 2759"/>
                <a:gd name="T8" fmla="*/ 0 w 1890"/>
                <a:gd name="T9" fmla="*/ 2759 h 2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0" h="2759">
                  <a:moveTo>
                    <a:pt x="0" y="2759"/>
                  </a:moveTo>
                  <a:lnTo>
                    <a:pt x="12" y="2759"/>
                  </a:lnTo>
                  <a:lnTo>
                    <a:pt x="1890" y="17"/>
                  </a:lnTo>
                  <a:lnTo>
                    <a:pt x="1890" y="0"/>
                  </a:lnTo>
                  <a:lnTo>
                    <a:pt x="0" y="275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  <p:sp>
          <p:nvSpPr>
            <p:cNvPr id="38" name="Freeform 7"/>
            <p:cNvSpPr>
              <a:spLocks/>
            </p:cNvSpPr>
            <p:nvPr userDrawn="1"/>
          </p:nvSpPr>
          <p:spPr bwMode="black">
            <a:xfrm>
              <a:off x="-7368753" y="-1854009"/>
              <a:ext cx="1327417" cy="6697305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7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7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sz="1800"/>
            </a:p>
          </p:txBody>
        </p:sp>
      </p:grpSp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00A5E2"/>
              </a:gs>
              <a:gs pos="50000">
                <a:srgbClr val="00A5E2"/>
              </a:gs>
              <a:gs pos="84000">
                <a:schemeClr val="accent2">
                  <a:alpha val="0"/>
                </a:scheme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6679256" y="2989334"/>
            <a:ext cx="4500586" cy="1440753"/>
          </a:xfrm>
        </p:spPr>
        <p:txBody>
          <a:bodyPr anchor="t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2A1FF3C4-D4B4-4618-80B7-662695D06B6A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 bwMode="black">
          <a:xfrm>
            <a:off x="1902438" y="2134650"/>
            <a:ext cx="4500586" cy="720000"/>
          </a:xfrm>
        </p:spPr>
        <p:txBody>
          <a:bodyPr anchor="b"/>
          <a:lstStyle>
            <a:lvl1pPr marL="0" indent="0" algn="r">
              <a:buNone/>
              <a:defRPr sz="2400" b="1">
                <a:solidFill>
                  <a:schemeClr val="accent1"/>
                </a:solidFill>
              </a:defRPr>
            </a:lvl1pPr>
            <a:lvl2pPr marL="0" indent="0" algn="l">
              <a:buNone/>
              <a:defRPr sz="2400" b="1">
                <a:solidFill>
                  <a:schemeClr val="accent1"/>
                </a:solidFill>
              </a:defRPr>
            </a:lvl2pPr>
            <a:lvl3pPr marL="0" indent="0" algn="l">
              <a:buNone/>
              <a:defRPr sz="2400" b="1">
                <a:solidFill>
                  <a:schemeClr val="accent1"/>
                </a:solidFill>
              </a:defRPr>
            </a:lvl3pPr>
            <a:lvl4pPr marL="0" indent="0" algn="l">
              <a:buNone/>
              <a:defRPr sz="2400" b="1">
                <a:solidFill>
                  <a:schemeClr val="accent1"/>
                </a:solidFill>
              </a:defRPr>
            </a:lvl4pPr>
            <a:lvl5pPr marL="0" indent="0" algn="l">
              <a:buNone/>
              <a:defRPr sz="2400" b="1">
                <a:solidFill>
                  <a:schemeClr val="accent1"/>
                </a:solidFill>
              </a:defRPr>
            </a:lvl5pPr>
            <a:lvl6pPr marL="0" indent="0" algn="l">
              <a:buNone/>
              <a:defRPr sz="2400" b="1">
                <a:solidFill>
                  <a:schemeClr val="accent1"/>
                </a:solidFill>
              </a:defRPr>
            </a:lvl6pPr>
            <a:lvl7pPr marL="0" indent="0" algn="l">
              <a:buNone/>
              <a:defRPr sz="2400" b="1">
                <a:solidFill>
                  <a:schemeClr val="accent1"/>
                </a:solidFill>
              </a:defRPr>
            </a:lvl7pPr>
            <a:lvl8pPr marL="0" indent="0" algn="l">
              <a:buNone/>
              <a:defRPr sz="2400" b="1">
                <a:solidFill>
                  <a:schemeClr val="accent1"/>
                </a:solidFill>
              </a:defRPr>
            </a:lvl8pPr>
            <a:lvl9pPr marL="0" indent="0" algn="l">
              <a:buNone/>
              <a:defRPr sz="2400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064187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3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"/>
          <p:cNvSpPr/>
          <p:nvPr/>
        </p:nvSpPr>
        <p:spPr bwMode="ltGray">
          <a:xfrm>
            <a:off x="0" y="1"/>
            <a:ext cx="2104849" cy="6860381"/>
          </a:xfrm>
          <a:custGeom>
            <a:avLst/>
            <a:gdLst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195843 w 2104575"/>
              <a:gd name="connsiteY4" fmla="*/ 6858000 h 6858000"/>
              <a:gd name="connsiteX5" fmla="*/ 0 w 2104575"/>
              <a:gd name="connsiteY5" fmla="*/ 6858000 h 6858000"/>
              <a:gd name="connsiteX6" fmla="*/ 0 w 2104575"/>
              <a:gd name="connsiteY6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762994 w 2104575"/>
              <a:gd name="connsiteY3" fmla="*/ 6858000 h 6858000"/>
              <a:gd name="connsiteX4" fmla="*/ 0 w 2104575"/>
              <a:gd name="connsiteY4" fmla="*/ 6858000 h 6858000"/>
              <a:gd name="connsiteX5" fmla="*/ 0 w 2104575"/>
              <a:gd name="connsiteY5" fmla="*/ 0 h 6858000"/>
              <a:gd name="connsiteX0" fmla="*/ 0 w 2104575"/>
              <a:gd name="connsiteY0" fmla="*/ 0 h 6858000"/>
              <a:gd name="connsiteX1" fmla="*/ 2104575 w 2104575"/>
              <a:gd name="connsiteY1" fmla="*/ 0 h 6858000"/>
              <a:gd name="connsiteX2" fmla="*/ 1507982 w 2104575"/>
              <a:gd name="connsiteY2" fmla="*/ 6858000 h 6858000"/>
              <a:gd name="connsiteX3" fmla="*/ 0 w 2104575"/>
              <a:gd name="connsiteY3" fmla="*/ 6858000 h 6858000"/>
              <a:gd name="connsiteX4" fmla="*/ 0 w 2104575"/>
              <a:gd name="connsiteY4" fmla="*/ 0 h 6858000"/>
              <a:gd name="connsiteX0" fmla="*/ 0 w 2104575"/>
              <a:gd name="connsiteY0" fmla="*/ 0 h 6860381"/>
              <a:gd name="connsiteX1" fmla="*/ 2104575 w 2104575"/>
              <a:gd name="connsiteY1" fmla="*/ 0 h 6860381"/>
              <a:gd name="connsiteX2" fmla="*/ 645970 w 2104575"/>
              <a:gd name="connsiteY2" fmla="*/ 6860381 h 6860381"/>
              <a:gd name="connsiteX3" fmla="*/ 0 w 2104575"/>
              <a:gd name="connsiteY3" fmla="*/ 6858000 h 6860381"/>
              <a:gd name="connsiteX4" fmla="*/ 0 w 2104575"/>
              <a:gd name="connsiteY4" fmla="*/ 0 h 68603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04575" h="6860381">
                <a:moveTo>
                  <a:pt x="0" y="0"/>
                </a:moveTo>
                <a:lnTo>
                  <a:pt x="2104575" y="0"/>
                </a:lnTo>
                <a:lnTo>
                  <a:pt x="645970" y="6860381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74C713"/>
              </a:gs>
              <a:gs pos="50000">
                <a:srgbClr val="74C713"/>
              </a:gs>
              <a:gs pos="84000">
                <a:srgbClr val="74C713">
                  <a:alpha val="0"/>
                </a:srgbClr>
              </a:gs>
            </a:gsLst>
            <a:lin ang="2700000" scaled="1"/>
            <a:tileRect/>
          </a:gra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sz="1800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black">
          <a:xfrm>
            <a:off x="4854976" y="1462159"/>
            <a:ext cx="4500586" cy="1440753"/>
          </a:xfrm>
        </p:spPr>
        <p:txBody>
          <a:bodyPr anchor="b"/>
          <a:lstStyle>
            <a:lvl1pPr algn="l">
              <a:defRPr sz="48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05EA5CC2-9168-437D-9403-5EA0BC737A4E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56599" y="3064854"/>
            <a:ext cx="4500586" cy="720000"/>
          </a:xfrm>
        </p:spPr>
        <p:txBody>
          <a:bodyPr anchor="t"/>
          <a:lstStyle>
            <a:lvl1pPr marL="0" indent="0" algn="l">
              <a:buNone/>
              <a:defRPr sz="2400" b="1">
                <a:solidFill>
                  <a:schemeClr val="accent3"/>
                </a:solidFill>
              </a:defRPr>
            </a:lvl1pPr>
            <a:lvl2pPr marL="0" indent="0" algn="l">
              <a:buNone/>
              <a:defRPr sz="2400" b="1">
                <a:solidFill>
                  <a:schemeClr val="accent3"/>
                </a:solidFill>
              </a:defRPr>
            </a:lvl2pPr>
            <a:lvl3pPr marL="0" indent="0" algn="l">
              <a:buNone/>
              <a:defRPr sz="2400" b="1">
                <a:solidFill>
                  <a:schemeClr val="accent3"/>
                </a:solidFill>
              </a:defRPr>
            </a:lvl3pPr>
            <a:lvl4pPr marL="0" indent="0" algn="l">
              <a:buNone/>
              <a:defRPr sz="2400" b="1">
                <a:solidFill>
                  <a:schemeClr val="accent3"/>
                </a:solidFill>
              </a:defRPr>
            </a:lvl4pPr>
            <a:lvl5pPr marL="0" indent="0" algn="l">
              <a:buNone/>
              <a:defRPr sz="2400" b="1">
                <a:solidFill>
                  <a:schemeClr val="accent3"/>
                </a:solidFill>
              </a:defRPr>
            </a:lvl5pPr>
            <a:lvl6pPr marL="0" indent="0" algn="l">
              <a:buNone/>
              <a:defRPr sz="2400" b="1">
                <a:solidFill>
                  <a:schemeClr val="accent3"/>
                </a:solidFill>
              </a:defRPr>
            </a:lvl6pPr>
            <a:lvl7pPr marL="0" indent="0" algn="l">
              <a:buNone/>
              <a:defRPr sz="2400" b="1">
                <a:solidFill>
                  <a:schemeClr val="accent3"/>
                </a:solidFill>
              </a:defRPr>
            </a:lvl7pPr>
            <a:lvl8pPr marL="0" indent="0" algn="l">
              <a:buNone/>
              <a:defRPr sz="2400" b="1">
                <a:solidFill>
                  <a:schemeClr val="accent3"/>
                </a:solidFill>
              </a:defRPr>
            </a:lvl8pPr>
            <a:lvl9pPr marL="0" indent="0" algn="l">
              <a:buNone/>
              <a:defRPr sz="2400" b="1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24" name="Group 23"/>
          <p:cNvGrpSpPr/>
          <p:nvPr/>
        </p:nvGrpSpPr>
        <p:grpSpPr bwMode="black">
          <a:xfrm>
            <a:off x="759707" y="1"/>
            <a:ext cx="4149389" cy="6858000"/>
            <a:chOff x="-13927138" y="-1074738"/>
            <a:chExt cx="4913313" cy="8121651"/>
          </a:xfrm>
          <a:solidFill>
            <a:schemeClr val="bg1"/>
          </a:solidFill>
        </p:grpSpPr>
        <p:sp>
          <p:nvSpPr>
            <p:cNvPr id="26" name="Freeform 6"/>
            <p:cNvSpPr>
              <a:spLocks/>
            </p:cNvSpPr>
            <p:nvPr userDrawn="1"/>
          </p:nvSpPr>
          <p:spPr bwMode="black">
            <a:xfrm>
              <a:off x="-13927138" y="-1074738"/>
              <a:ext cx="2947988" cy="8121651"/>
            </a:xfrm>
            <a:custGeom>
              <a:avLst/>
              <a:gdLst>
                <a:gd name="T0" fmla="*/ 9 w 1857"/>
                <a:gd name="T1" fmla="*/ 5116 h 5116"/>
                <a:gd name="T2" fmla="*/ 1857 w 1857"/>
                <a:gd name="T3" fmla="*/ 0 h 5116"/>
                <a:gd name="T4" fmla="*/ 1847 w 1857"/>
                <a:gd name="T5" fmla="*/ 0 h 5116"/>
                <a:gd name="T6" fmla="*/ 0 w 1857"/>
                <a:gd name="T7" fmla="*/ 5116 h 5116"/>
                <a:gd name="T8" fmla="*/ 9 w 1857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57" h="5116">
                  <a:moveTo>
                    <a:pt x="9" y="5116"/>
                  </a:moveTo>
                  <a:lnTo>
                    <a:pt x="1857" y="0"/>
                  </a:lnTo>
                  <a:lnTo>
                    <a:pt x="1847" y="0"/>
                  </a:lnTo>
                  <a:lnTo>
                    <a:pt x="0" y="5116"/>
                  </a:lnTo>
                  <a:lnTo>
                    <a:pt x="9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6" name="Freeform 7"/>
            <p:cNvSpPr>
              <a:spLocks/>
            </p:cNvSpPr>
            <p:nvPr userDrawn="1"/>
          </p:nvSpPr>
          <p:spPr bwMode="black">
            <a:xfrm>
              <a:off x="-10623550" y="-1074738"/>
              <a:ext cx="1609725" cy="8121651"/>
            </a:xfrm>
            <a:custGeom>
              <a:avLst/>
              <a:gdLst>
                <a:gd name="T0" fmla="*/ 10 w 1014"/>
                <a:gd name="T1" fmla="*/ 5116 h 5116"/>
                <a:gd name="T2" fmla="*/ 1014 w 1014"/>
                <a:gd name="T3" fmla="*/ 0 h 5116"/>
                <a:gd name="T4" fmla="*/ 1004 w 1014"/>
                <a:gd name="T5" fmla="*/ 0 h 5116"/>
                <a:gd name="T6" fmla="*/ 0 w 1014"/>
                <a:gd name="T7" fmla="*/ 5116 h 5116"/>
                <a:gd name="T8" fmla="*/ 10 w 1014"/>
                <a:gd name="T9" fmla="*/ 5116 h 5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4" h="5116">
                  <a:moveTo>
                    <a:pt x="10" y="5116"/>
                  </a:moveTo>
                  <a:lnTo>
                    <a:pt x="1014" y="0"/>
                  </a:lnTo>
                  <a:lnTo>
                    <a:pt x="1004" y="0"/>
                  </a:lnTo>
                  <a:lnTo>
                    <a:pt x="0" y="5116"/>
                  </a:lnTo>
                  <a:lnTo>
                    <a:pt x="10" y="5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7726" y="617699"/>
            <a:ext cx="395299" cy="395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2789907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58F87D-07C3-40F2-B285-6E1542B3D0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F359B6-61AB-42A9-9150-0D9CC65800E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7FFF13-26BB-4637-B354-5849C2837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D7737-EB15-4ED0-BB24-528EE5274129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5EAEF2-7084-49BA-AF4B-86BECC1A6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0EE36C-BCF8-4281-9050-0B568081D9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77E4D-5E1E-4149-ADE7-3DF7DF27C4F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604799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40A551F-E741-4142-A3EC-01F9DD9EF94A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8" y="1732751"/>
            <a:ext cx="10799867" cy="47519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580604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FE0D636A-6EAE-4C4C-A353-4E4314DB12A0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6"/>
          </p:nvPr>
        </p:nvSpPr>
        <p:spPr>
          <a:xfrm>
            <a:off x="981948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12"/>
          <p:cNvSpPr>
            <a:spLocks noGrp="1"/>
          </p:cNvSpPr>
          <p:nvPr>
            <p:ph sz="quarter" idx="17"/>
          </p:nvPr>
        </p:nvSpPr>
        <p:spPr>
          <a:xfrm>
            <a:off x="6560457" y="1732750"/>
            <a:ext cx="5220680" cy="475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10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2446678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  <p15:guide id="5" pos="619">
          <p15:clr>
            <a:srgbClr val="FBAE40"/>
          </p15:clr>
        </p15:guide>
        <p15:guide id="7" pos="742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) &amp; Image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1625FEE-35EE-46A4-A0AC-D25652920319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11" name="Text Placeholder 10 (left)"/>
          <p:cNvSpPr>
            <a:spLocks noGrp="1"/>
          </p:cNvSpPr>
          <p:nvPr>
            <p:ph type="body" sz="quarter" idx="14"/>
          </p:nvPr>
        </p:nvSpPr>
        <p:spPr bwMode="gray">
          <a:xfrm>
            <a:off x="981948" y="3892750"/>
            <a:ext cx="5220680" cy="259200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0 (right)"/>
          <p:cNvSpPr>
            <a:spLocks noGrp="1"/>
          </p:cNvSpPr>
          <p:nvPr>
            <p:ph type="body" sz="quarter" idx="15"/>
          </p:nvPr>
        </p:nvSpPr>
        <p:spPr bwMode="gray">
          <a:xfrm>
            <a:off x="6560573" y="3892750"/>
            <a:ext cx="5220680" cy="259200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4 (left)"/>
          <p:cNvSpPr>
            <a:spLocks noGrp="1"/>
          </p:cNvSpPr>
          <p:nvPr>
            <p:ph type="pic" sz="quarter" idx="16"/>
          </p:nvPr>
        </p:nvSpPr>
        <p:spPr bwMode="gray">
          <a:xfrm>
            <a:off x="981948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Picture Placeholder 14 (right)"/>
          <p:cNvSpPr>
            <a:spLocks noGrp="1"/>
          </p:cNvSpPr>
          <p:nvPr>
            <p:ph type="pic" sz="quarter" idx="17"/>
          </p:nvPr>
        </p:nvSpPr>
        <p:spPr bwMode="gray">
          <a:xfrm>
            <a:off x="6560573" y="1732750"/>
            <a:ext cx="5220680" cy="1800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4086011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08">
          <p15:clr>
            <a:srgbClr val="FBAE40"/>
          </p15:clr>
        </p15:guide>
        <p15:guide id="2" pos="4134">
          <p15:clr>
            <a:srgbClr val="FBAE40"/>
          </p15:clr>
        </p15:guide>
        <p15:guide id="3" orient="horz" pos="2228">
          <p15:clr>
            <a:srgbClr val="FBAE40"/>
          </p15:clr>
        </p15:guide>
        <p15:guide id="4" orient="horz" pos="2455">
          <p15:clr>
            <a:srgbClr val="FBAE40"/>
          </p15:clr>
        </p15:guide>
        <p15:guide id="5" pos="619">
          <p15:clr>
            <a:srgbClr val="FBAE40"/>
          </p15:clr>
        </p15:guide>
        <p15:guide id="6" pos="7423">
          <p15:clr>
            <a:srgbClr val="FBAE40"/>
          </p15:clr>
        </p15:guide>
        <p15:guide id="7" orient="horz" pos="1094">
          <p15:clr>
            <a:srgbClr val="FBAE40"/>
          </p15:clr>
        </p15:guide>
        <p15:guide id="8" orient="horz" pos="408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CDD81E9-BBCD-4FBC-930F-B2ED8978690F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395203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980410" y="1052513"/>
            <a:ext cx="10801406" cy="5432237"/>
          </a:xfrm>
        </p:spPr>
        <p:txBody>
          <a:bodyPr bIns="0" anchor="ctr"/>
          <a:lstStyle>
            <a:lvl1pPr marL="0" indent="0" algn="l">
              <a:buNone/>
              <a:defRPr sz="6600">
                <a:solidFill>
                  <a:schemeClr val="tx2"/>
                </a:solidFill>
              </a:defRPr>
            </a:lvl1pPr>
            <a:lvl2pPr marL="0" indent="0" algn="l">
              <a:buNone/>
              <a:defRPr sz="6600">
                <a:solidFill>
                  <a:schemeClr val="tx2"/>
                </a:solidFill>
              </a:defRPr>
            </a:lvl2pPr>
            <a:lvl3pPr marL="0" indent="0" algn="l">
              <a:buNone/>
              <a:defRPr sz="6600">
                <a:solidFill>
                  <a:schemeClr val="tx2"/>
                </a:solidFill>
              </a:defRPr>
            </a:lvl3pPr>
            <a:lvl4pPr marL="0" indent="0" algn="l">
              <a:buNone/>
              <a:defRPr sz="6600">
                <a:solidFill>
                  <a:schemeClr val="tx2"/>
                </a:solidFill>
              </a:defRPr>
            </a:lvl4pPr>
            <a:lvl5pPr marL="0" indent="0" algn="l">
              <a:buNone/>
              <a:defRPr sz="6600">
                <a:solidFill>
                  <a:schemeClr val="tx2"/>
                </a:solidFill>
              </a:defRPr>
            </a:lvl5pPr>
            <a:lvl6pPr marL="0" indent="0" algn="l">
              <a:buNone/>
              <a:defRPr sz="6600">
                <a:solidFill>
                  <a:schemeClr val="tx2"/>
                </a:solidFill>
              </a:defRPr>
            </a:lvl6pPr>
            <a:lvl7pPr marL="0" indent="0" algn="l">
              <a:buNone/>
              <a:defRPr sz="6600">
                <a:solidFill>
                  <a:schemeClr val="tx2"/>
                </a:solidFill>
              </a:defRPr>
            </a:lvl7pPr>
            <a:lvl8pPr marL="0" indent="0" algn="l">
              <a:buNone/>
              <a:defRPr sz="6600">
                <a:solidFill>
                  <a:schemeClr val="tx2"/>
                </a:solidFill>
              </a:defRPr>
            </a:lvl8pPr>
            <a:lvl9pPr marL="0" indent="0" algn="l">
              <a:buNone/>
              <a:defRPr sz="66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6BA9F930-D3DA-4A52-8912-B003D3BEA063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96324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663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E1EF742-9E9E-435C-8576-ED23C839AC04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6" name="Picture Placeholder 14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2192000" cy="6858000"/>
          </a:xfrm>
        </p:spPr>
        <p:txBody>
          <a:bodyPr tIns="540000" anchor="ctr"/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69473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32760">
                <a:srgbClr val="00617F"/>
              </a:gs>
              <a:gs pos="0">
                <a:srgbClr val="00617F"/>
              </a:gs>
              <a:gs pos="72000">
                <a:srgbClr val="10384F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1" y="1732422"/>
            <a:ext cx="5382199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326D7A8-26B5-452F-B725-6A7B3A127240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1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772531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2B6636"/>
              </a:gs>
              <a:gs pos="0">
                <a:srgbClr val="2B6636"/>
              </a:gs>
              <a:gs pos="72000">
                <a:srgbClr val="004422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3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5B1ADDE-1DBF-4486-A5A2-5AC870BBA024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02117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inal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/>
          <p:nvPr/>
        </p:nvSpPr>
        <p:spPr bwMode="gray">
          <a:xfrm flipV="1">
            <a:off x="1" y="0"/>
            <a:ext cx="8199194" cy="6877050"/>
          </a:xfrm>
          <a:custGeom>
            <a:avLst/>
            <a:gdLst>
              <a:gd name="connsiteX0" fmla="*/ 0 w 8198127"/>
              <a:gd name="connsiteY0" fmla="*/ 6877050 h 6877050"/>
              <a:gd name="connsiteX1" fmla="*/ 6090082 w 8198127"/>
              <a:gd name="connsiteY1" fmla="*/ 6877050 h 6877050"/>
              <a:gd name="connsiteX2" fmla="*/ 8198127 w 8198127"/>
              <a:gd name="connsiteY2" fmla="*/ 6877050 h 6877050"/>
              <a:gd name="connsiteX3" fmla="*/ 6090082 w 8198127"/>
              <a:gd name="connsiteY3" fmla="*/ 0 h 6877050"/>
              <a:gd name="connsiteX4" fmla="*/ 0 w 8198127"/>
              <a:gd name="connsiteY4" fmla="*/ 0 h 687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8127" h="6877050">
                <a:moveTo>
                  <a:pt x="0" y="6877050"/>
                </a:moveTo>
                <a:lnTo>
                  <a:pt x="6090082" y="6877050"/>
                </a:lnTo>
                <a:lnTo>
                  <a:pt x="8198127" y="6877050"/>
                </a:lnTo>
                <a:lnTo>
                  <a:pt x="6090082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8000">
                <a:srgbClr val="624963"/>
              </a:gs>
              <a:gs pos="0">
                <a:srgbClr val="624963"/>
              </a:gs>
              <a:gs pos="72000">
                <a:srgbClr val="443247"/>
              </a:gs>
            </a:gsLst>
            <a:lin ang="162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white">
          <a:xfrm>
            <a:off x="708912" y="1732758"/>
            <a:ext cx="5382197" cy="592617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DB4B025-3D87-42E8-A4FA-B6FB59811310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white">
          <a:xfrm>
            <a:off x="708912" y="2424948"/>
            <a:ext cx="5382199" cy="1620000"/>
          </a:xfrm>
        </p:spPr>
        <p:txBody>
          <a:bodyPr anchor="t"/>
          <a:lstStyle>
            <a:lvl1pPr>
              <a:defRPr sz="54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white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white">
          <a:xfrm>
            <a:off x="1414582" y="4262151"/>
            <a:ext cx="360046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6"/>
          <p:cNvSpPr>
            <a:spLocks noGrp="1"/>
          </p:cNvSpPr>
          <p:nvPr>
            <p:ph type="pic" sz="quarter" idx="14"/>
          </p:nvPr>
        </p:nvSpPr>
        <p:spPr bwMode="gray">
          <a:xfrm>
            <a:off x="6096716" y="0"/>
            <a:ext cx="6095285" cy="6858000"/>
          </a:xfrm>
          <a:custGeom>
            <a:avLst/>
            <a:gdLst>
              <a:gd name="connsiteX0" fmla="*/ 2102205 w 6094492"/>
              <a:gd name="connsiteY0" fmla="*/ 0 h 6858000"/>
              <a:gd name="connsiteX1" fmla="*/ 6094492 w 6094492"/>
              <a:gd name="connsiteY1" fmla="*/ 0 h 6858000"/>
              <a:gd name="connsiteX2" fmla="*/ 6094492 w 6094492"/>
              <a:gd name="connsiteY2" fmla="*/ 6858000 h 6858000"/>
              <a:gd name="connsiteX3" fmla="*/ 0 w 6094492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94492" h="6858000">
                <a:moveTo>
                  <a:pt x="2102205" y="0"/>
                </a:moveTo>
                <a:lnTo>
                  <a:pt x="6094492" y="0"/>
                </a:lnTo>
                <a:lnTo>
                  <a:pt x="609449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reeform 6"/>
          <p:cNvSpPr>
            <a:spLocks/>
          </p:cNvSpPr>
          <p:nvPr/>
        </p:nvSpPr>
        <p:spPr bwMode="gray">
          <a:xfrm>
            <a:off x="5111999" y="0"/>
            <a:ext cx="2939247" cy="6877050"/>
          </a:xfrm>
          <a:custGeom>
            <a:avLst/>
            <a:gdLst>
              <a:gd name="T0" fmla="*/ 10 w 2188"/>
              <a:gd name="T1" fmla="*/ 5120 h 5120"/>
              <a:gd name="T2" fmla="*/ 2188 w 2188"/>
              <a:gd name="T3" fmla="*/ 0 h 5120"/>
              <a:gd name="T4" fmla="*/ 2179 w 2188"/>
              <a:gd name="T5" fmla="*/ 0 h 5120"/>
              <a:gd name="T6" fmla="*/ 0 w 2188"/>
              <a:gd name="T7" fmla="*/ 5120 h 5120"/>
              <a:gd name="T8" fmla="*/ 10 w 2188"/>
              <a:gd name="T9" fmla="*/ 5120 h 51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8" h="5120">
                <a:moveTo>
                  <a:pt x="10" y="5120"/>
                </a:moveTo>
                <a:lnTo>
                  <a:pt x="2188" y="0"/>
                </a:lnTo>
                <a:lnTo>
                  <a:pt x="2179" y="0"/>
                </a:lnTo>
                <a:lnTo>
                  <a:pt x="0" y="5120"/>
                </a:lnTo>
                <a:lnTo>
                  <a:pt x="10" y="512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800"/>
          </a:p>
        </p:txBody>
      </p:sp>
      <p:sp>
        <p:nvSpPr>
          <p:cNvPr id="13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46713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foli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748D365A-E5AB-4E04-8CBF-282EA2A90CE3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0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3"/>
              <a:gd name="connsiteY0" fmla="*/ 0 h 6858000"/>
              <a:gd name="connsiteX1" fmla="*/ 8112573 w 8114953"/>
              <a:gd name="connsiteY1" fmla="*/ 0 h 6858000"/>
              <a:gd name="connsiteX2" fmla="*/ 8114953 w 8114953"/>
              <a:gd name="connsiteY2" fmla="*/ 6003673 h 6858000"/>
              <a:gd name="connsiteX3" fmla="*/ 3275459 w 8114953"/>
              <a:gd name="connsiteY3" fmla="*/ 6858000 h 6858000"/>
              <a:gd name="connsiteX4" fmla="*/ 0 w 8114953"/>
              <a:gd name="connsiteY4" fmla="*/ 6858000 h 6858000"/>
              <a:gd name="connsiteX5" fmla="*/ 1341581 w 811495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3" y="4090555"/>
                  <a:pt x="8114953" y="6003673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1164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B33F82-D003-4952-AA08-D42CA965B4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3A764A-A671-4448-A99E-F58722D97D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7C6A962-69DF-4D35-8285-93AB15EF2A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D7737-EB15-4ED0-BB24-528EE5274129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E92FF5-B9ED-4DC5-89FC-59CE16CD65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84C892B-5C0C-4193-837F-930E2AB710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77E4D-5E1E-4149-ADE7-3DF7DF27C4F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373997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E27B440C-5EFB-4467-905A-22485475D437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3" y="0"/>
            <a:ext cx="8116010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4954"/>
              <a:gd name="connsiteY0" fmla="*/ 0 h 6858000"/>
              <a:gd name="connsiteX1" fmla="*/ 8112573 w 8114954"/>
              <a:gd name="connsiteY1" fmla="*/ 0 h 6858000"/>
              <a:gd name="connsiteX2" fmla="*/ 8114954 w 8114954"/>
              <a:gd name="connsiteY2" fmla="*/ 6003672 h 6858000"/>
              <a:gd name="connsiteX3" fmla="*/ 3275459 w 8114954"/>
              <a:gd name="connsiteY3" fmla="*/ 6858000 h 6858000"/>
              <a:gd name="connsiteX4" fmla="*/ 0 w 8114954"/>
              <a:gd name="connsiteY4" fmla="*/ 6858000 h 6858000"/>
              <a:gd name="connsiteX5" fmla="*/ 1341581 w 811495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4954" y="4090554"/>
                  <a:pt x="8114954" y="600367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0318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2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8332E1DB-8F95-41FF-9308-B64A39D3785B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 bwMode="gray">
          <a:xfrm>
            <a:off x="4078372" y="0"/>
            <a:ext cx="8113629" cy="6858000"/>
          </a:xfrm>
          <a:custGeom>
            <a:avLst/>
            <a:gdLst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6858000 h 6858000"/>
              <a:gd name="connsiteX4" fmla="*/ 8112572 w 8112573"/>
              <a:gd name="connsiteY4" fmla="*/ 5739354 h 6858000"/>
              <a:gd name="connsiteX5" fmla="*/ 3275459 w 8112573"/>
              <a:gd name="connsiteY5" fmla="*/ 6858000 h 6858000"/>
              <a:gd name="connsiteX6" fmla="*/ 0 w 8112573"/>
              <a:gd name="connsiteY6" fmla="*/ 685800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3 w 8112573"/>
              <a:gd name="connsiteY2" fmla="*/ 6858000 h 6858000"/>
              <a:gd name="connsiteX3" fmla="*/ 8112572 w 8112573"/>
              <a:gd name="connsiteY3" fmla="*/ 5739354 h 6858000"/>
              <a:gd name="connsiteX4" fmla="*/ 3275459 w 8112573"/>
              <a:gd name="connsiteY4" fmla="*/ 6858000 h 6858000"/>
              <a:gd name="connsiteX5" fmla="*/ 0 w 8112573"/>
              <a:gd name="connsiteY5" fmla="*/ 6858000 h 6858000"/>
              <a:gd name="connsiteX6" fmla="*/ 1341581 w 8112573"/>
              <a:gd name="connsiteY6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5739354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  <a:gd name="connsiteX0" fmla="*/ 1341581 w 8112573"/>
              <a:gd name="connsiteY0" fmla="*/ 0 h 6858000"/>
              <a:gd name="connsiteX1" fmla="*/ 8112573 w 8112573"/>
              <a:gd name="connsiteY1" fmla="*/ 0 h 6858000"/>
              <a:gd name="connsiteX2" fmla="*/ 8112572 w 8112573"/>
              <a:gd name="connsiteY2" fmla="*/ 6001292 h 6858000"/>
              <a:gd name="connsiteX3" fmla="*/ 3275459 w 8112573"/>
              <a:gd name="connsiteY3" fmla="*/ 6858000 h 6858000"/>
              <a:gd name="connsiteX4" fmla="*/ 0 w 8112573"/>
              <a:gd name="connsiteY4" fmla="*/ 6858000 h 6858000"/>
              <a:gd name="connsiteX5" fmla="*/ 1341581 w 8112573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12573" h="6858000">
                <a:moveTo>
                  <a:pt x="1341581" y="0"/>
                </a:moveTo>
                <a:lnTo>
                  <a:pt x="8112573" y="0"/>
                </a:lnTo>
                <a:cubicBezTo>
                  <a:pt x="8112573" y="1913118"/>
                  <a:pt x="8112572" y="4088174"/>
                  <a:pt x="8112572" y="6001292"/>
                </a:cubicBezTo>
                <a:lnTo>
                  <a:pt x="3275459" y="6858000"/>
                </a:lnTo>
                <a:lnTo>
                  <a:pt x="0" y="6858000"/>
                </a:lnTo>
                <a:lnTo>
                  <a:pt x="1341581" y="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45166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(3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830682F5-D540-4F7E-A44F-370516830E3A}"/>
              </a:ext>
            </a:extLst>
          </p:cNvPr>
          <p:cNvSpPr/>
          <p:nvPr userDrawn="1"/>
        </p:nvSpPr>
        <p:spPr bwMode="gray">
          <a:xfrm>
            <a:off x="4075990" y="0"/>
            <a:ext cx="8116010" cy="6858000"/>
          </a:xfrm>
          <a:custGeom>
            <a:avLst/>
            <a:gdLst>
              <a:gd name="connsiteX0" fmla="*/ 1341581 w 8114954"/>
              <a:gd name="connsiteY0" fmla="*/ 0 h 6858000"/>
              <a:gd name="connsiteX1" fmla="*/ 8112574 w 8114954"/>
              <a:gd name="connsiteY1" fmla="*/ 0 h 6858000"/>
              <a:gd name="connsiteX2" fmla="*/ 8114954 w 8114954"/>
              <a:gd name="connsiteY2" fmla="*/ 6003673 h 6858000"/>
              <a:gd name="connsiteX3" fmla="*/ 3275458 w 8114954"/>
              <a:gd name="connsiteY3" fmla="*/ 6858000 h 6858000"/>
              <a:gd name="connsiteX4" fmla="*/ 0 w 8114954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14954" h="6858000">
                <a:moveTo>
                  <a:pt x="1341581" y="0"/>
                </a:moveTo>
                <a:lnTo>
                  <a:pt x="8112574" y="0"/>
                </a:lnTo>
                <a:cubicBezTo>
                  <a:pt x="8112574" y="1913118"/>
                  <a:pt x="8114954" y="4090555"/>
                  <a:pt x="8114954" y="6003673"/>
                </a:cubicBezTo>
                <a:lnTo>
                  <a:pt x="327545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09458" y="1732422"/>
            <a:ext cx="3621023" cy="592952"/>
          </a:xfrm>
        </p:spPr>
        <p:txBody>
          <a:bodyPr anchor="b"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0" indent="0" algn="l">
              <a:buNone/>
              <a:defRPr sz="2000">
                <a:solidFill>
                  <a:schemeClr val="bg1"/>
                </a:solidFill>
              </a:defRPr>
            </a:lvl3pPr>
            <a:lvl4pPr marL="0" indent="0" algn="l">
              <a:buNone/>
              <a:defRPr sz="2000">
                <a:solidFill>
                  <a:schemeClr val="bg1"/>
                </a:solidFill>
              </a:defRPr>
            </a:lvl4pPr>
            <a:lvl5pPr marL="0" indent="0" algn="l">
              <a:buNone/>
              <a:defRPr sz="2000">
                <a:solidFill>
                  <a:schemeClr val="bg1"/>
                </a:solidFill>
              </a:defRPr>
            </a:lvl5pPr>
            <a:lvl6pPr marL="0" indent="0" algn="l">
              <a:buNone/>
              <a:defRPr sz="2000">
                <a:solidFill>
                  <a:schemeClr val="bg1"/>
                </a:solidFill>
              </a:defRPr>
            </a:lvl6pPr>
            <a:lvl7pPr marL="0" indent="0" algn="l">
              <a:buNone/>
              <a:defRPr sz="2000">
                <a:solidFill>
                  <a:schemeClr val="bg1"/>
                </a:solidFill>
              </a:defRPr>
            </a:lvl7pPr>
            <a:lvl8pPr marL="0" indent="0" algn="l"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buNone/>
              <a:defRPr sz="2000">
                <a:solidFill>
                  <a:schemeClr val="bg1"/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AD156BCA-D759-48B0-8B28-914FB5CC3734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  <a:lvl6pPr>
              <a:defRPr>
                <a:noFill/>
              </a:defRPr>
            </a:lvl6pPr>
            <a:lvl7pPr>
              <a:defRPr>
                <a:noFill/>
              </a:defRPr>
            </a:lvl7pPr>
            <a:lvl8pPr>
              <a:defRPr>
                <a:noFill/>
              </a:defRPr>
            </a:lvl8pPr>
            <a:lvl9pPr>
              <a:defRPr>
                <a:noFill/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black">
          <a:xfrm>
            <a:off x="709653" y="2424948"/>
            <a:ext cx="3620828" cy="1440000"/>
          </a:xfrm>
        </p:spPr>
        <p:txBody>
          <a:bodyPr anchor="t"/>
          <a:lstStyle>
            <a:lvl1pPr>
              <a:defRPr sz="3200" i="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EE7DB5C-15A7-4763-A498-7608598D843B}"/>
              </a:ext>
            </a:extLst>
          </p:cNvPr>
          <p:cNvSpPr txBox="1"/>
          <p:nvPr/>
        </p:nvSpPr>
        <p:spPr bwMode="black">
          <a:xfrm>
            <a:off x="1378862" y="4041068"/>
            <a:ext cx="480895" cy="1797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marL="0" marR="0" lvl="0" indent="0" algn="ctr" defTabSz="91568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1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///////////</a:t>
            </a:r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 bwMode="black">
          <a:xfrm>
            <a:off x="1414582" y="4262151"/>
            <a:ext cx="2915899" cy="108000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solidFill>
                  <a:schemeClr val="bg1"/>
                </a:solidFill>
              </a:defRPr>
            </a:lvl1pPr>
            <a:lvl2pPr marL="0" indent="0">
              <a:spcBef>
                <a:spcPts val="180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5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701767" y="704850"/>
            <a:ext cx="720094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05FA33A-AA9A-408D-825F-3DD716E743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gray">
          <a:xfrm>
            <a:off x="4113407" y="0"/>
            <a:ext cx="3985226" cy="6858000"/>
          </a:xfrm>
          <a:custGeom>
            <a:avLst/>
            <a:gdLst>
              <a:gd name="connsiteX0" fmla="*/ 2693218 w 3984707"/>
              <a:gd name="connsiteY0" fmla="*/ 6856945 h 6858000"/>
              <a:gd name="connsiteX1" fmla="*/ 2698647 w 3984707"/>
              <a:gd name="connsiteY1" fmla="*/ 6858000 h 6858000"/>
              <a:gd name="connsiteX2" fmla="*/ 2693014 w 3984707"/>
              <a:gd name="connsiteY2" fmla="*/ 6858000 h 6858000"/>
              <a:gd name="connsiteX3" fmla="*/ 1331361 w 3984707"/>
              <a:gd name="connsiteY3" fmla="*/ 0 h 6858000"/>
              <a:gd name="connsiteX4" fmla="*/ 3984707 w 3984707"/>
              <a:gd name="connsiteY4" fmla="*/ 0 h 6858000"/>
              <a:gd name="connsiteX5" fmla="*/ 2660015 w 3984707"/>
              <a:gd name="connsiteY5" fmla="*/ 6858000 h 6858000"/>
              <a:gd name="connsiteX6" fmla="*/ 0 w 3984707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984707" h="6858000">
                <a:moveTo>
                  <a:pt x="2693218" y="6856945"/>
                </a:moveTo>
                <a:lnTo>
                  <a:pt x="2698647" y="6858000"/>
                </a:lnTo>
                <a:lnTo>
                  <a:pt x="2693014" y="6858000"/>
                </a:lnTo>
                <a:close/>
                <a:moveTo>
                  <a:pt x="1331361" y="0"/>
                </a:moveTo>
                <a:lnTo>
                  <a:pt x="3984707" y="0"/>
                </a:lnTo>
                <a:lnTo>
                  <a:pt x="266001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0D031B8-1221-4B6F-92FB-4684EFA4710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 bwMode="gray">
          <a:xfrm>
            <a:off x="6806770" y="0"/>
            <a:ext cx="3995858" cy="6858000"/>
          </a:xfrm>
          <a:custGeom>
            <a:avLst/>
            <a:gdLst>
              <a:gd name="connsiteX0" fmla="*/ 1324692 w 3995338"/>
              <a:gd name="connsiteY0" fmla="*/ 0 h 6858000"/>
              <a:gd name="connsiteX1" fmla="*/ 3995338 w 3995338"/>
              <a:gd name="connsiteY1" fmla="*/ 0 h 6858000"/>
              <a:gd name="connsiteX2" fmla="*/ 2745906 w 3995338"/>
              <a:gd name="connsiteY2" fmla="*/ 6468865 h 6858000"/>
              <a:gd name="connsiteX3" fmla="*/ 2748727 w 3995338"/>
              <a:gd name="connsiteY3" fmla="*/ 6469398 h 6858000"/>
              <a:gd name="connsiteX4" fmla="*/ 547416 w 3995338"/>
              <a:gd name="connsiteY4" fmla="*/ 6858000 h 6858000"/>
              <a:gd name="connsiteX5" fmla="*/ 0 w 3995338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95338" h="6858000">
                <a:moveTo>
                  <a:pt x="1324692" y="0"/>
                </a:moveTo>
                <a:lnTo>
                  <a:pt x="3995338" y="0"/>
                </a:lnTo>
                <a:lnTo>
                  <a:pt x="2745906" y="6468865"/>
                </a:lnTo>
                <a:lnTo>
                  <a:pt x="2748727" y="6469398"/>
                </a:lnTo>
                <a:lnTo>
                  <a:pt x="5474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tIns="540000" anchor="ctr">
            <a:noAutofit/>
          </a:bodyPr>
          <a:lstStyle>
            <a:lvl1pPr algn="ctr">
              <a:defRPr/>
            </a:lvl1pPr>
          </a:lstStyle>
          <a:p>
            <a:r>
              <a:rPr lang="en-US"/>
              <a:t>Click icon to add picture</a:t>
            </a:r>
            <a:endParaRPr lang="de-DE" dirty="0"/>
          </a:p>
        </p:txBody>
      </p:sp>
      <p:sp>
        <p:nvSpPr>
          <p:cNvPr id="57" name="Picture Placeholder 56">
            <a:extLst>
              <a:ext uri="{FF2B5EF4-FFF2-40B4-BE49-F238E27FC236}">
                <a16:creationId xmlns:a16="http://schemas.microsoft.com/office/drawing/2014/main" id="{FCA7AC5F-6522-4DEE-BA7A-D67ED03A7E2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9586888" y="0"/>
            <a:ext cx="2607493" cy="6463920"/>
          </a:xfrm>
          <a:custGeom>
            <a:avLst/>
            <a:gdLst>
              <a:gd name="connsiteX0" fmla="*/ 1248571 w 2607154"/>
              <a:gd name="connsiteY0" fmla="*/ 0 h 6463920"/>
              <a:gd name="connsiteX1" fmla="*/ 2604774 w 2607154"/>
              <a:gd name="connsiteY1" fmla="*/ 0 h 6463920"/>
              <a:gd name="connsiteX2" fmla="*/ 2607154 w 2607154"/>
              <a:gd name="connsiteY2" fmla="*/ 6003673 h 6463920"/>
              <a:gd name="connsiteX3" fmla="*/ 0 w 2607154"/>
              <a:gd name="connsiteY3" fmla="*/ 6463920 h 64639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607154" h="6463920">
                <a:moveTo>
                  <a:pt x="1248571" y="0"/>
                </a:moveTo>
                <a:lnTo>
                  <a:pt x="2604774" y="0"/>
                </a:lnTo>
                <a:cubicBezTo>
                  <a:pt x="2604774" y="1913118"/>
                  <a:pt x="2607154" y="4090555"/>
                  <a:pt x="2607154" y="6003673"/>
                </a:cubicBezTo>
                <a:lnTo>
                  <a:pt x="0" y="6463920"/>
                </a:lnTo>
                <a:close/>
              </a:path>
            </a:pathLst>
          </a:custGeom>
        </p:spPr>
        <p:txBody>
          <a:bodyPr wrap="square" tIns="936000" anchor="ctr">
            <a:noAutofit/>
          </a:bodyPr>
          <a:lstStyle>
            <a:lvl1pPr algn="ctr">
              <a:defRPr/>
            </a:lvl1pPr>
          </a:lstStyle>
          <a:p>
            <a:r>
              <a:rPr lang="en-US" dirty="0"/>
              <a:t>Click icon to</a:t>
            </a:r>
            <a:br>
              <a:rPr lang="en-US" dirty="0"/>
            </a:br>
            <a:r>
              <a:rPr lang="en-US" dirty="0"/>
              <a:t>add picture</a:t>
            </a:r>
            <a:endParaRPr lang="de-DE" dirty="0"/>
          </a:p>
        </p:txBody>
      </p:sp>
      <p:sp>
        <p:nvSpPr>
          <p:cNvPr id="7" name="MIO_VALID_LAYOUT" hidden="1">
            <a:extLst>
              <a:ext uri="{FF2B5EF4-FFF2-40B4-BE49-F238E27FC236}">
                <a16:creationId xmlns:a16="http://schemas.microsoft.com/office/drawing/2014/main" id="{1D22FA5E-0BC7-4401-A5BD-77730EA9E1A3}"/>
              </a:ext>
            </a:extLst>
          </p:cNvPr>
          <p:cNvSpPr/>
          <p:nvPr userDrawn="1"/>
        </p:nvSpPr>
        <p:spPr bwMode="gray">
          <a:xfrm>
            <a:off x="69583" y="1"/>
            <a:ext cx="198809" cy="1320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Logoschutz" hidden="1">
            <a:extLst>
              <a:ext uri="{FF2B5EF4-FFF2-40B4-BE49-F238E27FC236}">
                <a16:creationId xmlns:a16="http://schemas.microsoft.com/office/drawing/2014/main" id="{4023B47B-B6DF-4539-AC89-0228A14ED20B}"/>
              </a:ext>
            </a:extLst>
          </p:cNvPr>
          <p:cNvSpPr/>
          <p:nvPr userDrawn="1">
            <p:custDataLst>
              <p:tags r:id="rId1"/>
            </p:custDataLst>
          </p:nvPr>
        </p:nvSpPr>
        <p:spPr bwMode="gray">
          <a:xfrm>
            <a:off x="521900" y="524850"/>
            <a:ext cx="1080141" cy="1080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1800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559140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FFE95D-CAAF-4028-B61C-D8CEE8359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A0C655-158F-4D2D-9BDF-8428D8DFA26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EEB075-C59B-4A63-93C7-BBB3AA0137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4B0C7A-38F4-430C-9CC0-7A719DC661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D7737-EB15-4ED0-BB24-528EE5274129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01A63A5-44C6-44D1-AE6B-659FFB9F8A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9F6552-92BE-42A4-943B-9BC9424E80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77E4D-5E1E-4149-ADE7-3DF7DF27C4F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564617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6C5D5E-F30E-4C12-8C66-40CFFA0432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9EBD41-7CEE-41FC-A715-A1A365529A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D78A44-1182-428F-9451-11978DC6E09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FD8C672-8CE4-4AFD-BB26-031997BAA85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6D4FE41-0215-4D18-AA0B-7B8CAB8BB97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55CFE29-A605-420F-87D3-B42BB0CD7D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D7737-EB15-4ED0-BB24-528EE5274129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59CAEE3-8B16-4EAD-A666-CF8CF2CEF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21C51CC-6125-475E-B8C9-B5DBC98878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77E4D-5E1E-4149-ADE7-3DF7DF27C4F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15458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AA31D4-D851-492B-B567-A1F0D24E54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DFF48A1-9444-4D91-B1CB-A95F868491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D7737-EB15-4ED0-BB24-528EE5274129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350601-03E3-4723-88D9-3B5D518609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921E22-8A6E-4ECC-9D83-28894AA3E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77E4D-5E1E-4149-ADE7-3DF7DF27C4F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7117453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D50ADD3-20C2-467C-BD68-1E5AAD3F5D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D7737-EB15-4ED0-BB24-528EE5274129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6665E06-5181-4686-884D-D95FB51316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562413-EA43-4676-AED9-BEFB0FC756A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77E4D-5E1E-4149-ADE7-3DF7DF27C4F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5376514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A9FB3E-992D-47FE-96DC-3B502406FD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8223BD-3844-4463-9F68-AFF30FD925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68BFC8-DC0F-46FB-8F22-427314A30FC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A887247-A8FD-4E9B-8949-04F5FF29B7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D7737-EB15-4ED0-BB24-528EE5274129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BE3BED-01AC-49A9-BDFE-CE92DC80D6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0F745BB-AF19-4F04-B386-39EBA425B2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77E4D-5E1E-4149-ADE7-3DF7DF27C4F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411067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E9A5A-E9B5-44EB-B042-58FBADE718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221D067-9857-47E1-ABBD-D63CD5C38B6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9483A9-E3DC-4D6B-B0D5-3EC1776C67F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8B3A89-957C-4E59-800A-5DE7B265D5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D7737-EB15-4ED0-BB24-528EE5274129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74B3A2-98F7-4E8F-9A8C-0F5AF6D91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C0D452-BFB4-4B37-B6EF-AF7C7750CE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777E4D-5E1E-4149-ADE7-3DF7DF27C4F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8484522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15.xml"/><Relationship Id="rId21" Type="http://schemas.openxmlformats.org/officeDocument/2006/relationships/theme" Target="../theme/theme2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image" Target="../media/image4.png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EB4DF13-11F9-4533-8FF1-05EC420B0A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s-MX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BDF42E-4480-4D49-B8BC-2DE0E3D98F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MX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418590-5E5E-4DB4-B4C9-FB30DCF23A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5D7737-EB15-4ED0-BB24-528EE5274129}" type="datetimeFigureOut">
              <a:rPr lang="es-MX" smtClean="0"/>
              <a:t>26/07/24</a:t>
            </a:fld>
            <a:endParaRPr lang="es-MX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9ACBC3-8E96-45E9-BA50-41DDB4E2C6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9BA54B-E602-4B1E-BED3-3FF23EE45B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777E4D-5E1E-4149-ADE7-3DF7DF27C4F2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MSIPCMContentMarking" descr="{&quot;HashCode&quot;:-242339457,&quot;Placement&quot;:&quot;Footer&quot;,&quot;Top&quot;:503.1945,&quot;Left&quot;:812.5106,&quot;SlideWidth&quot;:960,&quot;SlideHeight&quot;:540}">
            <a:extLst>
              <a:ext uri="{FF2B5EF4-FFF2-40B4-BE49-F238E27FC236}">
                <a16:creationId xmlns:a16="http://schemas.microsoft.com/office/drawing/2014/main" id="{E982847F-2339-43C5-957D-1C9ED24638F7}"/>
              </a:ext>
            </a:extLst>
          </p:cNvPr>
          <p:cNvSpPr txBox="1"/>
          <p:nvPr userDrawn="1"/>
        </p:nvSpPr>
        <p:spPr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s-MX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</a:p>
        </p:txBody>
      </p:sp>
    </p:spTree>
    <p:extLst>
      <p:ext uri="{BB962C8B-B14F-4D97-AF65-F5344CB8AC3E}">
        <p14:creationId xmlns:p14="http://schemas.microsoft.com/office/powerpoint/2010/main" val="1651463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980409" y="1732751"/>
            <a:ext cx="10801406" cy="475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err="1"/>
              <a:t>Textmasterformat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  <a:p>
            <a:pPr lvl="1"/>
            <a:r>
              <a:rPr lang="en-US" dirty="0" err="1"/>
              <a:t>Zwei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2"/>
            <a:r>
              <a:rPr lang="en-US" dirty="0" err="1"/>
              <a:t>Drit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3"/>
            <a:r>
              <a:rPr lang="en-US" dirty="0" err="1"/>
              <a:t>Vier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  <a:p>
            <a:pPr lvl="4"/>
            <a:r>
              <a:rPr lang="en-US" dirty="0" err="1"/>
              <a:t>Fünfte</a:t>
            </a:r>
            <a:r>
              <a:rPr lang="en-US" dirty="0"/>
              <a:t> </a:t>
            </a:r>
            <a:r>
              <a:rPr lang="en-US" dirty="0" err="1"/>
              <a:t>Ebene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981949" y="181938"/>
            <a:ext cx="10799866" cy="86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 err="1"/>
              <a:t>Titelmasterformat</a:t>
            </a:r>
            <a:r>
              <a:rPr lang="en-US" dirty="0"/>
              <a:t> </a:t>
            </a:r>
            <a:r>
              <a:rPr lang="en-US" dirty="0" err="1"/>
              <a:t>durch</a:t>
            </a:r>
            <a:r>
              <a:rPr lang="en-US" dirty="0"/>
              <a:t> </a:t>
            </a:r>
            <a:r>
              <a:rPr lang="en-US" dirty="0" err="1"/>
              <a:t>Klicken</a:t>
            </a:r>
            <a:r>
              <a:rPr lang="en-US" dirty="0"/>
              <a:t> </a:t>
            </a:r>
            <a:r>
              <a:rPr lang="en-US" dirty="0" err="1"/>
              <a:t>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gray">
          <a:xfrm>
            <a:off x="11122679" y="6617933"/>
            <a:ext cx="489014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r">
              <a:defRPr sz="700">
                <a:noFill/>
              </a:defRPr>
            </a:lvl1pPr>
            <a:lvl2pPr marL="1588" indent="0" algn="r">
              <a:defRPr sz="700">
                <a:noFill/>
              </a:defRPr>
            </a:lvl2pPr>
            <a:lvl3pPr marL="0" indent="0" algn="r">
              <a:defRPr sz="700">
                <a:noFill/>
              </a:defRPr>
            </a:lvl3pPr>
            <a:lvl4pPr marL="0" indent="0" algn="r">
              <a:tabLst/>
              <a:defRPr sz="700">
                <a:noFill/>
              </a:defRPr>
            </a:lvl4pPr>
            <a:lvl5pPr marL="0" indent="0" algn="r">
              <a:defRPr sz="700">
                <a:noFill/>
              </a:defRPr>
            </a:lvl5pPr>
            <a:lvl6pPr marL="0" indent="0" algn="r">
              <a:defRPr sz="700">
                <a:noFill/>
              </a:defRPr>
            </a:lvl6pPr>
            <a:lvl7pPr marL="0" indent="0" algn="r">
              <a:defRPr sz="700">
                <a:noFill/>
              </a:defRPr>
            </a:lvl7pPr>
            <a:lvl8pPr marL="0" indent="0" algn="r">
              <a:defRPr sz="700">
                <a:noFill/>
              </a:defRPr>
            </a:lvl8pPr>
            <a:lvl9pPr marL="0" indent="0" algn="r">
              <a:defRPr sz="700">
                <a:noFill/>
              </a:defRPr>
            </a:lvl9pPr>
          </a:lstStyle>
          <a:p>
            <a:fld id="{2D78BCF2-FC21-402C-B283-A432E3A4AFFD}" type="datetime1">
              <a:rPr lang="en-US" smtClean="0"/>
              <a:t>7/26/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974799" y="6617933"/>
            <a:ext cx="8641125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>
              <a:defRPr sz="700">
                <a:solidFill>
                  <a:schemeClr val="accent1"/>
                </a:solidFill>
              </a:defRPr>
            </a:lvl1pPr>
            <a:lvl2pPr marL="0" indent="0">
              <a:defRPr sz="700">
                <a:solidFill>
                  <a:schemeClr val="accent1"/>
                </a:solidFill>
              </a:defRPr>
            </a:lvl2pPr>
            <a:lvl3pPr marL="0" indent="0">
              <a:defRPr sz="700">
                <a:solidFill>
                  <a:schemeClr val="accent1"/>
                </a:solidFill>
              </a:defRPr>
            </a:lvl3pPr>
            <a:lvl4pPr marL="0" indent="0">
              <a:defRPr sz="700">
                <a:solidFill>
                  <a:schemeClr val="accent1"/>
                </a:solidFill>
              </a:defRPr>
            </a:lvl4pPr>
            <a:lvl5pPr marL="0" indent="0">
              <a:defRPr sz="700">
                <a:solidFill>
                  <a:schemeClr val="accent1"/>
                </a:solidFill>
              </a:defRPr>
            </a:lvl5pPr>
            <a:lvl6pPr marL="0" indent="0">
              <a:tabLst/>
              <a:defRPr sz="700">
                <a:solidFill>
                  <a:schemeClr val="accent1"/>
                </a:solidFill>
              </a:defRPr>
            </a:lvl6pPr>
            <a:lvl7pPr marL="0" indent="0">
              <a:tabLst/>
              <a:defRPr sz="700">
                <a:solidFill>
                  <a:schemeClr val="accent1"/>
                </a:solidFill>
              </a:defRPr>
            </a:lvl7pPr>
            <a:lvl8pPr marL="0" indent="0">
              <a:defRPr sz="700">
                <a:solidFill>
                  <a:schemeClr val="accent1"/>
                </a:solidFill>
              </a:defRPr>
            </a:lvl8pPr>
            <a:lvl9pPr marL="0" indent="0">
              <a:defRPr sz="700">
                <a:solidFill>
                  <a:schemeClr val="accent1"/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95869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fld id="{EEAD9179-7A6B-4268-BEB2-F3B8EB06115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empower - DO NOT DELETE!!!" hidden="1"/>
          <p:cNvSpPr/>
          <p:nvPr userDrawn="1">
            <p:custDataLst>
              <p:tags r:id="rId22"/>
            </p:custDataLst>
          </p:nvPr>
        </p:nvSpPr>
        <p:spPr bwMode="gray">
          <a:xfrm>
            <a:off x="0" y="0"/>
            <a:ext cx="0" cy="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9" name="MSIPCMContentMarking" descr="{&quot;HashCode&quot;:-242339457,&quot;Placement&quot;:&quot;Footer&quot;,&quot;Top&quot;:503.1945,&quot;Left&quot;:812.5106,&quot;SlideWidth&quot;:960,&quot;SlideHeight&quot;:540}">
            <a:extLst>
              <a:ext uri="{FF2B5EF4-FFF2-40B4-BE49-F238E27FC236}">
                <a16:creationId xmlns:a16="http://schemas.microsoft.com/office/drawing/2014/main" id="{F99505CC-FDDC-4405-8FD6-777153BF8FC5}"/>
              </a:ext>
            </a:extLst>
          </p:cNvPr>
          <p:cNvSpPr txBox="1"/>
          <p:nvPr userDrawn="1"/>
        </p:nvSpPr>
        <p:spPr bwMode="gray"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s-MX" sz="2200" b="0" i="0" u="none" baseline="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es-MX" sz="2200" b="0" i="0" u="none" baseline="0" dirty="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7475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3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54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4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81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5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0" indent="-270000" algn="l" defTabSz="914400" rtl="0" eaLnBrk="1" latinLnBrk="0" hangingPunct="1">
        <a:spcBef>
          <a:spcPts val="300"/>
        </a:spcBef>
        <a:spcAft>
          <a:spcPts val="600"/>
        </a:spcAft>
        <a:buFontTx/>
        <a:buBlip>
          <a:blip r:embed="rId26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19.xml"/><Relationship Id="rId6" Type="http://schemas.openxmlformats.org/officeDocument/2006/relationships/image" Target="../media/image11.jpg"/><Relationship Id="rId5" Type="http://schemas.openxmlformats.org/officeDocument/2006/relationships/image" Target="../media/image10.jpg"/><Relationship Id="rId4" Type="http://schemas.openxmlformats.org/officeDocument/2006/relationships/image" Target="../media/image9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13" Type="http://schemas.openxmlformats.org/officeDocument/2006/relationships/image" Target="../media/image37.png"/><Relationship Id="rId3" Type="http://schemas.microsoft.com/office/2007/relationships/media" Target="../media/media14.mp4"/><Relationship Id="rId7" Type="http://schemas.microsoft.com/office/2018/10/relationships/comments" Target="../comments/modernComment_7FFFD548_E8F489A4.xml"/><Relationship Id="rId12" Type="http://schemas.openxmlformats.org/officeDocument/2006/relationships/chart" Target="../charts/chart24.xml"/><Relationship Id="rId2" Type="http://schemas.openxmlformats.org/officeDocument/2006/relationships/video" Target="../media/media13.mp4"/><Relationship Id="rId1" Type="http://schemas.microsoft.com/office/2007/relationships/media" Target="../media/media13.mp4"/><Relationship Id="rId6" Type="http://schemas.openxmlformats.org/officeDocument/2006/relationships/notesSlide" Target="../notesSlides/notesSlide10.xml"/><Relationship Id="rId11" Type="http://schemas.openxmlformats.org/officeDocument/2006/relationships/chart" Target="../charts/chart23.xml"/><Relationship Id="rId5" Type="http://schemas.openxmlformats.org/officeDocument/2006/relationships/slideLayout" Target="../slideLayouts/slideLayout12.xml"/><Relationship Id="rId10" Type="http://schemas.openxmlformats.org/officeDocument/2006/relationships/image" Target="../media/image16.jpeg"/><Relationship Id="rId4" Type="http://schemas.openxmlformats.org/officeDocument/2006/relationships/video" Target="../media/media14.mp4"/><Relationship Id="rId9" Type="http://schemas.openxmlformats.org/officeDocument/2006/relationships/image" Target="../media/image15.jpeg"/><Relationship Id="rId1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5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6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Hoja_de_c_lculo_de_Microsoft_Excel33.xlsx"/><Relationship Id="rId13" Type="http://schemas.openxmlformats.org/officeDocument/2006/relationships/image" Target="../media/image15.jpeg"/><Relationship Id="rId3" Type="http://schemas.openxmlformats.org/officeDocument/2006/relationships/notesSlide" Target="../notesSlides/notesSlide12.xml"/><Relationship Id="rId7" Type="http://schemas.openxmlformats.org/officeDocument/2006/relationships/chart" Target="../charts/chart27.xml"/><Relationship Id="rId12" Type="http://schemas.openxmlformats.org/officeDocument/2006/relationships/image" Target="../media/image40.e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5.vml"/><Relationship Id="rId6" Type="http://schemas.openxmlformats.org/officeDocument/2006/relationships/chart" Target="../charts/chart26.xml"/><Relationship Id="rId11" Type="http://schemas.openxmlformats.org/officeDocument/2006/relationships/package" Target="../embeddings/Hoja_de_c_lculo_de_Microsoft_Excel35.xlsx"/><Relationship Id="rId5" Type="http://schemas.openxmlformats.org/officeDocument/2006/relationships/chart" Target="../charts/chart25.xml"/><Relationship Id="rId10" Type="http://schemas.openxmlformats.org/officeDocument/2006/relationships/chart" Target="../charts/chart28.xml"/><Relationship Id="rId4" Type="http://schemas.microsoft.com/office/2018/10/relationships/comments" Target="../comments/modernComment_7FFFD54D_BB465DAD.xml"/><Relationship Id="rId9" Type="http://schemas.openxmlformats.org/officeDocument/2006/relationships/image" Target="../media/image39.emf"/><Relationship Id="rId14" Type="http://schemas.openxmlformats.org/officeDocument/2006/relationships/image" Target="../media/image16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13" Type="http://schemas.openxmlformats.org/officeDocument/2006/relationships/image" Target="../media/image43.jpeg"/><Relationship Id="rId3" Type="http://schemas.openxmlformats.org/officeDocument/2006/relationships/slideLayout" Target="../slideLayouts/slideLayout12.xml"/><Relationship Id="rId7" Type="http://schemas.openxmlformats.org/officeDocument/2006/relationships/chart" Target="../charts/chart30.xml"/><Relationship Id="rId12" Type="http://schemas.openxmlformats.org/officeDocument/2006/relationships/image" Target="../media/image42.jpeg"/><Relationship Id="rId2" Type="http://schemas.openxmlformats.org/officeDocument/2006/relationships/video" Target="../media/media15.mp4"/><Relationship Id="rId1" Type="http://schemas.microsoft.com/office/2007/relationships/media" Target="../media/media15.mp4"/><Relationship Id="rId6" Type="http://schemas.openxmlformats.org/officeDocument/2006/relationships/chart" Target="../charts/chart29.xml"/><Relationship Id="rId11" Type="http://schemas.openxmlformats.org/officeDocument/2006/relationships/image" Target="../media/image41.png"/><Relationship Id="rId5" Type="http://schemas.microsoft.com/office/2018/10/relationships/comments" Target="../comments/modernComment_7FFFD54E_B51F1D4.xml"/><Relationship Id="rId10" Type="http://schemas.openxmlformats.org/officeDocument/2006/relationships/chart" Target="../charts/chart31.xml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16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5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Hoja_de_c_lculo_de_Microsoft_Excel42.xlsx"/><Relationship Id="rId13" Type="http://schemas.openxmlformats.org/officeDocument/2006/relationships/image" Target="../media/image15.jpeg"/><Relationship Id="rId3" Type="http://schemas.openxmlformats.org/officeDocument/2006/relationships/notesSlide" Target="../notesSlides/notesSlide15.xml"/><Relationship Id="rId7" Type="http://schemas.openxmlformats.org/officeDocument/2006/relationships/chart" Target="../charts/chart34.xml"/><Relationship Id="rId12" Type="http://schemas.openxmlformats.org/officeDocument/2006/relationships/image" Target="../media/image45.e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6.vml"/><Relationship Id="rId6" Type="http://schemas.openxmlformats.org/officeDocument/2006/relationships/chart" Target="../charts/chart33.xml"/><Relationship Id="rId11" Type="http://schemas.openxmlformats.org/officeDocument/2006/relationships/package" Target="../embeddings/Hoja_de_c_lculo_de_Microsoft_Excel44.xlsx"/><Relationship Id="rId5" Type="http://schemas.openxmlformats.org/officeDocument/2006/relationships/chart" Target="../charts/chart32.xml"/><Relationship Id="rId10" Type="http://schemas.openxmlformats.org/officeDocument/2006/relationships/chart" Target="../charts/chart35.xml"/><Relationship Id="rId4" Type="http://schemas.microsoft.com/office/2018/10/relationships/comments" Target="../comments/modernComment_7FFFD550_267B6818.xml"/><Relationship Id="rId9" Type="http://schemas.openxmlformats.org/officeDocument/2006/relationships/image" Target="../media/image44.emf"/><Relationship Id="rId14" Type="http://schemas.openxmlformats.org/officeDocument/2006/relationships/image" Target="../media/image16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6.xml"/><Relationship Id="rId13" Type="http://schemas.openxmlformats.org/officeDocument/2006/relationships/chart" Target="../charts/chart37.xml"/><Relationship Id="rId3" Type="http://schemas.microsoft.com/office/2007/relationships/media" Target="../media/media17.mp3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16.jpeg"/><Relationship Id="rId2" Type="http://schemas.openxmlformats.org/officeDocument/2006/relationships/audio" Target="../media/media16.mp3"/><Relationship Id="rId16" Type="http://schemas.openxmlformats.org/officeDocument/2006/relationships/image" Target="../media/image46.png"/><Relationship Id="rId1" Type="http://schemas.microsoft.com/office/2007/relationships/media" Target="../media/media16.mp3"/><Relationship Id="rId6" Type="http://schemas.openxmlformats.org/officeDocument/2006/relationships/video" Target="../media/media18.mp4"/><Relationship Id="rId11" Type="http://schemas.openxmlformats.org/officeDocument/2006/relationships/image" Target="../media/image15.jpeg"/><Relationship Id="rId5" Type="http://schemas.microsoft.com/office/2007/relationships/media" Target="../media/media18.mp4"/><Relationship Id="rId15" Type="http://schemas.openxmlformats.org/officeDocument/2006/relationships/image" Target="../media/image20.png"/><Relationship Id="rId10" Type="http://schemas.openxmlformats.org/officeDocument/2006/relationships/chart" Target="../charts/chart36.xml"/><Relationship Id="rId4" Type="http://schemas.openxmlformats.org/officeDocument/2006/relationships/audio" Target="../media/media17.mp3"/><Relationship Id="rId9" Type="http://schemas.microsoft.com/office/2018/10/relationships/comments" Target="../comments/modernComment_7FFFD551_BF47353A.xml"/><Relationship Id="rId14" Type="http://schemas.openxmlformats.org/officeDocument/2006/relationships/chart" Target="../charts/chart38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5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6.jpe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Hoja_de_c_lculo_de_Microsoft_Excel51.xlsx"/><Relationship Id="rId13" Type="http://schemas.openxmlformats.org/officeDocument/2006/relationships/image" Target="../media/image15.jpeg"/><Relationship Id="rId3" Type="http://schemas.openxmlformats.org/officeDocument/2006/relationships/notesSlide" Target="../notesSlides/notesSlide18.xml"/><Relationship Id="rId7" Type="http://schemas.openxmlformats.org/officeDocument/2006/relationships/chart" Target="../charts/chart41.xml"/><Relationship Id="rId12" Type="http://schemas.openxmlformats.org/officeDocument/2006/relationships/image" Target="../media/image48.e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7.vml"/><Relationship Id="rId6" Type="http://schemas.openxmlformats.org/officeDocument/2006/relationships/chart" Target="../charts/chart40.xml"/><Relationship Id="rId11" Type="http://schemas.openxmlformats.org/officeDocument/2006/relationships/package" Target="../embeddings/Hoja_de_c_lculo_de_Microsoft_Excel53.xlsx"/><Relationship Id="rId5" Type="http://schemas.openxmlformats.org/officeDocument/2006/relationships/chart" Target="../charts/chart39.xml"/><Relationship Id="rId10" Type="http://schemas.openxmlformats.org/officeDocument/2006/relationships/chart" Target="../charts/chart42.xml"/><Relationship Id="rId4" Type="http://schemas.microsoft.com/office/2018/10/relationships/comments" Target="../comments/modernComment_7FFFD553_4B71FE3C.xml"/><Relationship Id="rId9" Type="http://schemas.openxmlformats.org/officeDocument/2006/relationships/image" Target="../media/image47.emf"/><Relationship Id="rId14" Type="http://schemas.openxmlformats.org/officeDocument/2006/relationships/image" Target="../media/image16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5.xml"/><Relationship Id="rId3" Type="http://schemas.microsoft.com/office/2018/10/relationships/comments" Target="../comments/modernComment_7FFFD554_61E5FEBE.xml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5.jpeg"/><Relationship Id="rId5" Type="http://schemas.openxmlformats.org/officeDocument/2006/relationships/chart" Target="../charts/chart44.xml"/><Relationship Id="rId4" Type="http://schemas.openxmlformats.org/officeDocument/2006/relationships/chart" Target="../charts/chart43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53B_4F3C144A.xml"/><Relationship Id="rId7" Type="http://schemas.openxmlformats.org/officeDocument/2006/relationships/chart" Target="../charts/chart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2.xml"/><Relationship Id="rId5" Type="http://schemas.openxmlformats.org/officeDocument/2006/relationships/chart" Target="../charts/chart1.xml"/><Relationship Id="rId4" Type="http://schemas.openxmlformats.org/officeDocument/2006/relationships/image" Target="../media/image12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5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6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Hoja_de_c_lculo_de_Microsoft_Excel60.xlsx"/><Relationship Id="rId13" Type="http://schemas.openxmlformats.org/officeDocument/2006/relationships/image" Target="../media/image15.jpeg"/><Relationship Id="rId3" Type="http://schemas.openxmlformats.org/officeDocument/2006/relationships/notesSlide" Target="../notesSlides/notesSlide21.xml"/><Relationship Id="rId7" Type="http://schemas.openxmlformats.org/officeDocument/2006/relationships/chart" Target="../charts/chart48.xml"/><Relationship Id="rId12" Type="http://schemas.openxmlformats.org/officeDocument/2006/relationships/image" Target="../media/image50.e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8.vml"/><Relationship Id="rId6" Type="http://schemas.openxmlformats.org/officeDocument/2006/relationships/chart" Target="../charts/chart47.xml"/><Relationship Id="rId11" Type="http://schemas.openxmlformats.org/officeDocument/2006/relationships/package" Target="../embeddings/Hoja_de_c_lculo_de_Microsoft_Excel62.xlsx"/><Relationship Id="rId5" Type="http://schemas.openxmlformats.org/officeDocument/2006/relationships/chart" Target="../charts/chart46.xml"/><Relationship Id="rId10" Type="http://schemas.openxmlformats.org/officeDocument/2006/relationships/chart" Target="../charts/chart49.xml"/><Relationship Id="rId4" Type="http://schemas.microsoft.com/office/2018/10/relationships/comments" Target="../comments/modernComment_7FFFD556_2E00DD36.xml"/><Relationship Id="rId9" Type="http://schemas.openxmlformats.org/officeDocument/2006/relationships/image" Target="../media/image49.emf"/><Relationship Id="rId14" Type="http://schemas.openxmlformats.org/officeDocument/2006/relationships/image" Target="../media/image16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slideLayout" Target="../slideLayouts/slideLayout12.xml"/><Relationship Id="rId7" Type="http://schemas.openxmlformats.org/officeDocument/2006/relationships/chart" Target="../charts/chart51.xml"/><Relationship Id="rId2" Type="http://schemas.openxmlformats.org/officeDocument/2006/relationships/audio" Target="../media/media19.mp3"/><Relationship Id="rId1" Type="http://schemas.microsoft.com/office/2007/relationships/media" Target="../media/media19.mp3"/><Relationship Id="rId6" Type="http://schemas.openxmlformats.org/officeDocument/2006/relationships/chart" Target="../charts/chart50.xml"/><Relationship Id="rId11" Type="http://schemas.openxmlformats.org/officeDocument/2006/relationships/image" Target="../media/image20.png"/><Relationship Id="rId5" Type="http://schemas.microsoft.com/office/2018/10/relationships/comments" Target="../comments/modernComment_7FFFD557_974BD9A7.xml"/><Relationship Id="rId10" Type="http://schemas.openxmlformats.org/officeDocument/2006/relationships/chart" Target="../charts/chart52.xml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16.jpe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emf"/><Relationship Id="rId13" Type="http://schemas.openxmlformats.org/officeDocument/2006/relationships/chart" Target="../charts/chart55.xml"/><Relationship Id="rId3" Type="http://schemas.openxmlformats.org/officeDocument/2006/relationships/notesSlide" Target="../notesSlides/notesSlide23.xml"/><Relationship Id="rId7" Type="http://schemas.openxmlformats.org/officeDocument/2006/relationships/package" Target="../embeddings/Hoja_de_c_lculo_de_Microsoft_Excel68.xlsx"/><Relationship Id="rId12" Type="http://schemas.openxmlformats.org/officeDocument/2006/relationships/image" Target="../media/image16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9.vml"/><Relationship Id="rId6" Type="http://schemas.openxmlformats.org/officeDocument/2006/relationships/chart" Target="../charts/chart54.xml"/><Relationship Id="rId11" Type="http://schemas.openxmlformats.org/officeDocument/2006/relationships/image" Target="../media/image15.jpeg"/><Relationship Id="rId5" Type="http://schemas.openxmlformats.org/officeDocument/2006/relationships/chart" Target="../charts/chart53.xml"/><Relationship Id="rId10" Type="http://schemas.openxmlformats.org/officeDocument/2006/relationships/image" Target="../media/image52.emf"/><Relationship Id="rId4" Type="http://schemas.microsoft.com/office/2018/10/relationships/comments" Target="../comments/modernComment_7FFFD54A_11BE02E0.xml"/><Relationship Id="rId9" Type="http://schemas.openxmlformats.org/officeDocument/2006/relationships/package" Target="../embeddings/Hoja_de_c_lculo_de_Microsoft_Excel69.xlsx"/><Relationship Id="rId14" Type="http://schemas.openxmlformats.org/officeDocument/2006/relationships/chart" Target="../charts/chart56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video" Target="../media/media23.mp4"/><Relationship Id="rId13" Type="http://schemas.microsoft.com/office/2018/10/relationships/comments" Target="../comments/modernComment_7FFFD54B_CCD2D60A.xml"/><Relationship Id="rId18" Type="http://schemas.openxmlformats.org/officeDocument/2006/relationships/chart" Target="../charts/chart59.xml"/><Relationship Id="rId3" Type="http://schemas.microsoft.com/office/2007/relationships/media" Target="../media/media21.mp3"/><Relationship Id="rId21" Type="http://schemas.openxmlformats.org/officeDocument/2006/relationships/image" Target="../media/image54.png"/><Relationship Id="rId7" Type="http://schemas.microsoft.com/office/2007/relationships/media" Target="../media/media23.mp4"/><Relationship Id="rId12" Type="http://schemas.openxmlformats.org/officeDocument/2006/relationships/notesSlide" Target="../notesSlides/notesSlide24.xml"/><Relationship Id="rId17" Type="http://schemas.openxmlformats.org/officeDocument/2006/relationships/chart" Target="../charts/chart58.xml"/><Relationship Id="rId2" Type="http://schemas.openxmlformats.org/officeDocument/2006/relationships/video" Target="../media/media20.mp4"/><Relationship Id="rId16" Type="http://schemas.openxmlformats.org/officeDocument/2006/relationships/chart" Target="../charts/chart57.xml"/><Relationship Id="rId20" Type="http://schemas.openxmlformats.org/officeDocument/2006/relationships/image" Target="../media/image20.png"/><Relationship Id="rId1" Type="http://schemas.microsoft.com/office/2007/relationships/media" Target="../media/media20.mp4"/><Relationship Id="rId6" Type="http://schemas.openxmlformats.org/officeDocument/2006/relationships/video" Target="../media/media22.mp4"/><Relationship Id="rId11" Type="http://schemas.openxmlformats.org/officeDocument/2006/relationships/slideLayout" Target="../slideLayouts/slideLayout12.xml"/><Relationship Id="rId5" Type="http://schemas.microsoft.com/office/2007/relationships/media" Target="../media/media22.mp4"/><Relationship Id="rId15" Type="http://schemas.openxmlformats.org/officeDocument/2006/relationships/image" Target="../media/image16.jpeg"/><Relationship Id="rId23" Type="http://schemas.openxmlformats.org/officeDocument/2006/relationships/image" Target="../media/image56.png"/><Relationship Id="rId10" Type="http://schemas.openxmlformats.org/officeDocument/2006/relationships/video" Target="../media/media24.mp4"/><Relationship Id="rId19" Type="http://schemas.openxmlformats.org/officeDocument/2006/relationships/image" Target="../media/image53.png"/><Relationship Id="rId4" Type="http://schemas.openxmlformats.org/officeDocument/2006/relationships/audio" Target="../media/media21.mp3"/><Relationship Id="rId9" Type="http://schemas.microsoft.com/office/2007/relationships/media" Target="../media/media24.mp4"/><Relationship Id="rId14" Type="http://schemas.openxmlformats.org/officeDocument/2006/relationships/image" Target="../media/image15.jpeg"/><Relationship Id="rId22" Type="http://schemas.openxmlformats.org/officeDocument/2006/relationships/image" Target="../media/image5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13" Type="http://schemas.openxmlformats.org/officeDocument/2006/relationships/image" Target="../media/image15.jpeg"/><Relationship Id="rId3" Type="http://schemas.openxmlformats.org/officeDocument/2006/relationships/notesSlide" Target="../notesSlides/notesSlide3.xml"/><Relationship Id="rId7" Type="http://schemas.openxmlformats.org/officeDocument/2006/relationships/chart" Target="../charts/chart6.xml"/><Relationship Id="rId12" Type="http://schemas.openxmlformats.org/officeDocument/2006/relationships/image" Target="../media/image14.e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chart" Target="../charts/chart5.xml"/><Relationship Id="rId11" Type="http://schemas.openxmlformats.org/officeDocument/2006/relationships/package" Target="../embeddings/Hoja_de_c_lculo_de_Microsoft_Excel8.xlsx"/><Relationship Id="rId5" Type="http://schemas.openxmlformats.org/officeDocument/2006/relationships/chart" Target="../charts/chart4.xml"/><Relationship Id="rId10" Type="http://schemas.openxmlformats.org/officeDocument/2006/relationships/image" Target="../media/image13.emf"/><Relationship Id="rId4" Type="http://schemas.microsoft.com/office/2018/10/relationships/comments" Target="../comments/modernComment_7FFFD53C_2D813B5E.xml"/><Relationship Id="rId9" Type="http://schemas.openxmlformats.org/officeDocument/2006/relationships/package" Target="../embeddings/Hoja_de_c_lculo_de_Microsoft_Excel7.xlsx"/><Relationship Id="rId1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audio" Target="../media/media4.mp3"/><Relationship Id="rId13" Type="http://schemas.openxmlformats.org/officeDocument/2006/relationships/slideLayout" Target="../slideLayouts/slideLayout12.xml"/><Relationship Id="rId18" Type="http://schemas.openxmlformats.org/officeDocument/2006/relationships/chart" Target="../charts/chart10.xml"/><Relationship Id="rId26" Type="http://schemas.openxmlformats.org/officeDocument/2006/relationships/image" Target="../media/image22.png"/><Relationship Id="rId3" Type="http://schemas.microsoft.com/office/2007/relationships/media" Target="../media/media2.mp4"/><Relationship Id="rId21" Type="http://schemas.openxmlformats.org/officeDocument/2006/relationships/image" Target="../media/image17.png"/><Relationship Id="rId7" Type="http://schemas.microsoft.com/office/2007/relationships/media" Target="../media/media4.mp3"/><Relationship Id="rId12" Type="http://schemas.openxmlformats.org/officeDocument/2006/relationships/video" Target="../media/media6.mp4"/><Relationship Id="rId17" Type="http://schemas.openxmlformats.org/officeDocument/2006/relationships/chart" Target="../charts/chart9.xml"/><Relationship Id="rId25" Type="http://schemas.openxmlformats.org/officeDocument/2006/relationships/image" Target="../media/image21.png"/><Relationship Id="rId2" Type="http://schemas.openxmlformats.org/officeDocument/2006/relationships/video" Target="../media/media1.mp4"/><Relationship Id="rId16" Type="http://schemas.openxmlformats.org/officeDocument/2006/relationships/chart" Target="../charts/chart8.xml"/><Relationship Id="rId20" Type="http://schemas.openxmlformats.org/officeDocument/2006/relationships/image" Target="../media/image16.jpeg"/><Relationship Id="rId1" Type="http://schemas.microsoft.com/office/2007/relationships/media" Target="../media/media1.mp4"/><Relationship Id="rId6" Type="http://schemas.openxmlformats.org/officeDocument/2006/relationships/video" Target="../media/media3.mp4"/><Relationship Id="rId11" Type="http://schemas.microsoft.com/office/2007/relationships/media" Target="../media/media6.mp4"/><Relationship Id="rId24" Type="http://schemas.openxmlformats.org/officeDocument/2006/relationships/image" Target="../media/image20.png"/><Relationship Id="rId5" Type="http://schemas.microsoft.com/office/2007/relationships/media" Target="../media/media3.mp4"/><Relationship Id="rId15" Type="http://schemas.microsoft.com/office/2018/10/relationships/comments" Target="../comments/modernComment_7FFFD53F_D60E91.xml"/><Relationship Id="rId23" Type="http://schemas.openxmlformats.org/officeDocument/2006/relationships/image" Target="../media/image19.png"/><Relationship Id="rId10" Type="http://schemas.openxmlformats.org/officeDocument/2006/relationships/video" Target="../media/media5.mp4"/><Relationship Id="rId19" Type="http://schemas.openxmlformats.org/officeDocument/2006/relationships/image" Target="../media/image15.jpeg"/><Relationship Id="rId4" Type="http://schemas.openxmlformats.org/officeDocument/2006/relationships/video" Target="../media/media2.mp4"/><Relationship Id="rId9" Type="http://schemas.microsoft.com/office/2007/relationships/media" Target="../media/media5.mp4"/><Relationship Id="rId14" Type="http://schemas.openxmlformats.org/officeDocument/2006/relationships/notesSlide" Target="../notesSlides/notesSlide4.xml"/><Relationship Id="rId22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5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Hoja_de_c_lculo_de_Microsoft_Excel15.xlsx"/><Relationship Id="rId13" Type="http://schemas.openxmlformats.org/officeDocument/2006/relationships/image" Target="../media/image16.jpeg"/><Relationship Id="rId3" Type="http://schemas.openxmlformats.org/officeDocument/2006/relationships/notesSlide" Target="../notesSlides/notesSlide6.xml"/><Relationship Id="rId7" Type="http://schemas.openxmlformats.org/officeDocument/2006/relationships/chart" Target="../charts/chart13.xml"/><Relationship Id="rId12" Type="http://schemas.openxmlformats.org/officeDocument/2006/relationships/image" Target="../media/image15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6" Type="http://schemas.openxmlformats.org/officeDocument/2006/relationships/chart" Target="../charts/chart12.xml"/><Relationship Id="rId11" Type="http://schemas.openxmlformats.org/officeDocument/2006/relationships/image" Target="../media/image28.emf"/><Relationship Id="rId5" Type="http://schemas.openxmlformats.org/officeDocument/2006/relationships/chart" Target="../charts/chart11.xml"/><Relationship Id="rId10" Type="http://schemas.openxmlformats.org/officeDocument/2006/relationships/package" Target="../embeddings/Hoja_de_c_lculo_de_Microsoft_Excel16.xlsx"/><Relationship Id="rId4" Type="http://schemas.microsoft.com/office/2018/10/relationships/comments" Target="../comments/modernComment_7FFFD541_BA458092.xml"/><Relationship Id="rId9" Type="http://schemas.openxmlformats.org/officeDocument/2006/relationships/image" Target="../media/image27.emf"/><Relationship Id="rId14" Type="http://schemas.openxmlformats.org/officeDocument/2006/relationships/chart" Target="../charts/char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video" Target="../media/media10.mp4"/><Relationship Id="rId13" Type="http://schemas.openxmlformats.org/officeDocument/2006/relationships/slideLayout" Target="../slideLayouts/slideLayout12.xml"/><Relationship Id="rId18" Type="http://schemas.openxmlformats.org/officeDocument/2006/relationships/chart" Target="../charts/chart17.xml"/><Relationship Id="rId26" Type="http://schemas.openxmlformats.org/officeDocument/2006/relationships/image" Target="../media/image34.png"/><Relationship Id="rId3" Type="http://schemas.microsoft.com/office/2007/relationships/media" Target="../media/media8.mp4"/><Relationship Id="rId21" Type="http://schemas.openxmlformats.org/officeDocument/2006/relationships/image" Target="../media/image29.png"/><Relationship Id="rId7" Type="http://schemas.microsoft.com/office/2007/relationships/media" Target="../media/media10.mp4"/><Relationship Id="rId12" Type="http://schemas.openxmlformats.org/officeDocument/2006/relationships/video" Target="../media/media12.mp4"/><Relationship Id="rId17" Type="http://schemas.openxmlformats.org/officeDocument/2006/relationships/chart" Target="../charts/chart16.xml"/><Relationship Id="rId25" Type="http://schemas.openxmlformats.org/officeDocument/2006/relationships/image" Target="../media/image33.png"/><Relationship Id="rId2" Type="http://schemas.openxmlformats.org/officeDocument/2006/relationships/video" Target="../media/media7.mp4"/><Relationship Id="rId16" Type="http://schemas.openxmlformats.org/officeDocument/2006/relationships/chart" Target="../charts/chart15.xml"/><Relationship Id="rId20" Type="http://schemas.openxmlformats.org/officeDocument/2006/relationships/image" Target="../media/image16.jpeg"/><Relationship Id="rId1" Type="http://schemas.microsoft.com/office/2007/relationships/media" Target="../media/media7.mp4"/><Relationship Id="rId6" Type="http://schemas.openxmlformats.org/officeDocument/2006/relationships/video" Target="../media/media9.mp4"/><Relationship Id="rId11" Type="http://schemas.microsoft.com/office/2007/relationships/media" Target="../media/media12.mp4"/><Relationship Id="rId24" Type="http://schemas.openxmlformats.org/officeDocument/2006/relationships/image" Target="../media/image32.png"/><Relationship Id="rId5" Type="http://schemas.microsoft.com/office/2007/relationships/media" Target="../media/media9.mp4"/><Relationship Id="rId15" Type="http://schemas.microsoft.com/office/2018/10/relationships/comments" Target="../comments/modernComment_7FFFD542_50A9AB58.xml"/><Relationship Id="rId23" Type="http://schemas.openxmlformats.org/officeDocument/2006/relationships/image" Target="../media/image31.png"/><Relationship Id="rId10" Type="http://schemas.openxmlformats.org/officeDocument/2006/relationships/video" Target="../media/media11.mp4"/><Relationship Id="rId19" Type="http://schemas.openxmlformats.org/officeDocument/2006/relationships/image" Target="../media/image15.jpeg"/><Relationship Id="rId4" Type="http://schemas.openxmlformats.org/officeDocument/2006/relationships/video" Target="../media/media8.mp4"/><Relationship Id="rId9" Type="http://schemas.microsoft.com/office/2007/relationships/media" Target="../media/media11.mp4"/><Relationship Id="rId14" Type="http://schemas.openxmlformats.org/officeDocument/2006/relationships/notesSlide" Target="../notesSlides/notesSlide7.xml"/><Relationship Id="rId22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15.jpe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16.jpe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package" Target="../embeddings/Hoja_de_c_lculo_de_Microsoft_Excel24.xlsx"/><Relationship Id="rId13" Type="http://schemas.openxmlformats.org/officeDocument/2006/relationships/image" Target="../media/image15.jpeg"/><Relationship Id="rId3" Type="http://schemas.openxmlformats.org/officeDocument/2006/relationships/notesSlide" Target="../notesSlides/notesSlide9.xml"/><Relationship Id="rId7" Type="http://schemas.openxmlformats.org/officeDocument/2006/relationships/chart" Target="../charts/chart20.xml"/><Relationship Id="rId12" Type="http://schemas.openxmlformats.org/officeDocument/2006/relationships/image" Target="../media/image36.e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6" Type="http://schemas.openxmlformats.org/officeDocument/2006/relationships/chart" Target="../charts/chart19.xml"/><Relationship Id="rId11" Type="http://schemas.openxmlformats.org/officeDocument/2006/relationships/package" Target="../embeddings/Hoja_de_c_lculo_de_Microsoft_Excel26.xlsx"/><Relationship Id="rId5" Type="http://schemas.openxmlformats.org/officeDocument/2006/relationships/chart" Target="../charts/chart18.xml"/><Relationship Id="rId10" Type="http://schemas.openxmlformats.org/officeDocument/2006/relationships/chart" Target="../charts/chart21.xml"/><Relationship Id="rId4" Type="http://schemas.microsoft.com/office/2018/10/relationships/comments" Target="../comments/modernComment_7FFFD547_4BC3F054.xml"/><Relationship Id="rId9" Type="http://schemas.openxmlformats.org/officeDocument/2006/relationships/image" Target="../media/image35.emf"/><Relationship Id="rId14" Type="http://schemas.openxmlformats.org/officeDocument/2006/relationships/image" Target="../media/image1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5FFD6DCF-47CE-45BA-ACD3-CEA541E51E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193" y="2692442"/>
            <a:ext cx="4741917" cy="1440000"/>
          </a:xfrm>
        </p:spPr>
        <p:txBody>
          <a:bodyPr/>
          <a:lstStyle/>
          <a:p>
            <a:pPr algn="ctr"/>
            <a:r>
              <a:rPr lang="en-US" dirty="0"/>
              <a:t>Media Competitive</a:t>
            </a:r>
            <a:br>
              <a:rPr lang="en-US" dirty="0"/>
            </a:br>
            <a:r>
              <a:rPr lang="en-US" u="sng" dirty="0"/>
              <a:t>Country: Honduras</a:t>
            </a:r>
            <a:br>
              <a:rPr lang="en-US" sz="2000" dirty="0"/>
            </a:br>
            <a:br>
              <a:rPr lang="en-US" sz="2000" dirty="0"/>
            </a:br>
            <a:r>
              <a:rPr lang="en-US" sz="1800" dirty="0">
                <a:solidFill>
                  <a:schemeClr val="bg1"/>
                </a:solidFill>
              </a:rPr>
              <a:t>Mayo,  2024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5" name="Bildplatzhalter 4"/>
          <p:cNvPicPr>
            <a:picLocks noGrp="1" noChangeAspect="1"/>
          </p:cNvPicPr>
          <p:nvPr>
            <p:ph type="pic" sz="quarter" idx="17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24" r="6424"/>
          <a:stretch>
            <a:fillRect/>
          </a:stretch>
        </p:blipFill>
        <p:spPr/>
      </p:pic>
      <p:pic>
        <p:nvPicPr>
          <p:cNvPr id="7" name="Bildplatzhalter 6"/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972" r="14186"/>
          <a:stretch/>
        </p:blipFill>
        <p:spPr/>
      </p:pic>
      <p:pic>
        <p:nvPicPr>
          <p:cNvPr id="12" name="Bildplatzhalter 11"/>
          <p:cNvPicPr>
            <a:picLocks noGrp="1" noChangeAspect="1"/>
          </p:cNvPicPr>
          <p:nvPr>
            <p:ph type="pic" sz="quarter" idx="19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64" r="15664"/>
          <a:stretch>
            <a:fillRect/>
          </a:stretch>
        </p:blipFill>
        <p:spPr/>
      </p:pic>
    </p:spTree>
    <p:custDataLst>
      <p:tags r:id="rId1"/>
    </p:custDataLst>
    <p:extLst>
      <p:ext uri="{BB962C8B-B14F-4D97-AF65-F5344CB8AC3E}">
        <p14:creationId xmlns:p14="http://schemas.microsoft.com/office/powerpoint/2010/main" val="3968758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Chart 26">
            <a:extLst>
              <a:ext uri="{FF2B5EF4-FFF2-40B4-BE49-F238E27FC236}">
                <a16:creationId xmlns:a16="http://schemas.microsoft.com/office/drawing/2014/main" id="{14C03A91-6D8F-2B43-985D-3BFEC4B42C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00982944"/>
              </p:ext>
            </p:extLst>
          </p:nvPr>
        </p:nvGraphicFramePr>
        <p:xfrm>
          <a:off x="181685" y="746422"/>
          <a:ext cx="3280545" cy="27094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8374521-8765-48E6-BD6E-29F7A80E3004}"/>
              </a:ext>
            </a:extLst>
          </p:cNvPr>
          <p:cNvSpPr/>
          <p:nvPr/>
        </p:nvSpPr>
        <p:spPr>
          <a:xfrm>
            <a:off x="9585751" y="816644"/>
            <a:ext cx="176975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6F8AB4D-EADF-4793-B39F-087293A0A55C}"/>
              </a:ext>
            </a:extLst>
          </p:cNvPr>
          <p:cNvSpPr/>
          <p:nvPr/>
        </p:nvSpPr>
        <p:spPr>
          <a:xfrm>
            <a:off x="6105939" y="3714742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A51F7E7F-3005-452B-A37E-6345C488012C}"/>
              </a:ext>
            </a:extLst>
          </p:cNvPr>
          <p:cNvSpPr/>
          <p:nvPr/>
        </p:nvSpPr>
        <p:spPr>
          <a:xfrm>
            <a:off x="1463022" y="3714440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8DA2D12-8206-4D3D-9493-AF5446A62F01}"/>
              </a:ext>
            </a:extLst>
          </p:cNvPr>
          <p:cNvSpPr/>
          <p:nvPr/>
        </p:nvSpPr>
        <p:spPr>
          <a:xfrm>
            <a:off x="631903" y="829674"/>
            <a:ext cx="284783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MEDIA TV CHANNEL </a:t>
            </a:r>
            <a:r>
              <a:rPr lang="es-MX" sz="1000" dirty="0"/>
              <a:t>(4,816</a:t>
            </a:r>
            <a:r>
              <a:rPr lang="es-MX" sz="1000" baseline="0" dirty="0"/>
              <a:t> Grp’s)</a:t>
            </a:r>
            <a:endParaRPr lang="es-MX" sz="10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55" y="-8437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CARDÍACOS 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CE1A38D-B15D-44B8-8B16-ADBCF0FB153A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40-60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 2024 </a:t>
            </a:r>
          </a:p>
        </p:txBody>
      </p:sp>
      <p:pic>
        <p:nvPicPr>
          <p:cNvPr id="1026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FEEED1DF-8648-4950-89EB-7A9954C08F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27533FF8-4632-48D4-ADB0-357699504C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4562154" y="684449"/>
            <a:ext cx="0" cy="292367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3608125"/>
            <a:ext cx="1237037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6592C3A-4914-420B-9823-54E1CEF44AEF}"/>
              </a:ext>
            </a:extLst>
          </p:cNvPr>
          <p:cNvSpPr/>
          <p:nvPr/>
        </p:nvSpPr>
        <p:spPr>
          <a:xfrm>
            <a:off x="5817753" y="826636"/>
            <a:ext cx="146260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483B254-E4F6-40A3-9B23-E4A24DF0AC0D}"/>
              </a:ext>
            </a:extLst>
          </p:cNvPr>
          <p:cNvSpPr txBox="1"/>
          <p:nvPr/>
        </p:nvSpPr>
        <p:spPr>
          <a:xfrm>
            <a:off x="817038" y="3663238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NEW CREATIV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D43246-8B24-4048-847D-87FACD838830}"/>
              </a:ext>
            </a:extLst>
          </p:cNvPr>
          <p:cNvSpPr txBox="1"/>
          <p:nvPr/>
        </p:nvSpPr>
        <p:spPr>
          <a:xfrm>
            <a:off x="5441913" y="3663237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OP CREATIVE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E699863-3FD2-4A09-B169-473C440A7F79}"/>
              </a:ext>
            </a:extLst>
          </p:cNvPr>
          <p:cNvSpPr txBox="1"/>
          <p:nvPr/>
        </p:nvSpPr>
        <p:spPr>
          <a:xfrm>
            <a:off x="4922273" y="5729304"/>
            <a:ext cx="19171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b="1" dirty="0">
                <a:latin typeface="Abadi" panose="020B0604020104020204" pitchFamily="34" charset="0"/>
              </a:rPr>
              <a:t>Cardio Delor</a:t>
            </a:r>
            <a:r>
              <a:rPr lang="es-MX" sz="1000" dirty="0">
                <a:latin typeface="Abadi" panose="020B0604020104020204" pitchFamily="34" charset="0"/>
              </a:rPr>
              <a:t> – Para mi mamá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61D8F93-DC41-4187-9DDC-CAF216947808}"/>
              </a:ext>
            </a:extLst>
          </p:cNvPr>
          <p:cNvCxnSpPr>
            <a:cxnSpLocks/>
          </p:cNvCxnSpPr>
          <p:nvPr/>
        </p:nvCxnSpPr>
        <p:spPr>
          <a:xfrm>
            <a:off x="4553687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7B3C51B-B8A4-4BA3-B6F8-D38845A5B52C}"/>
              </a:ext>
            </a:extLst>
          </p:cNvPr>
          <p:cNvCxnSpPr>
            <a:cxnSpLocks/>
          </p:cNvCxnSpPr>
          <p:nvPr/>
        </p:nvCxnSpPr>
        <p:spPr>
          <a:xfrm>
            <a:off x="9315795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125F62A-9C20-4B7B-9329-07AF495224FD}"/>
              </a:ext>
            </a:extLst>
          </p:cNvPr>
          <p:cNvSpPr txBox="1"/>
          <p:nvPr/>
        </p:nvSpPr>
        <p:spPr>
          <a:xfrm>
            <a:off x="9360099" y="3634864"/>
            <a:ext cx="2831103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150" dirty="0">
                <a:latin typeface="Abadi" panose="020B0604020104020204" pitchFamily="34" charset="0"/>
              </a:rPr>
              <a:t>Aprendizajes: </a:t>
            </a:r>
          </a:p>
          <a:p>
            <a:pPr algn="l"/>
            <a:r>
              <a:rPr lang="es-HN" sz="1150" dirty="0">
                <a:solidFill>
                  <a:srgbClr val="0D0D0D"/>
                </a:solidFill>
                <a:latin typeface="Söhne"/>
              </a:rPr>
              <a:t>En los primeros cuatro meses del </a:t>
            </a:r>
            <a:r>
              <a:rPr lang="es-HN" sz="1150" b="0" i="0" dirty="0">
                <a:solidFill>
                  <a:srgbClr val="0D0D0D"/>
                </a:solidFill>
                <a:effectLst/>
                <a:latin typeface="Söhne"/>
              </a:rPr>
              <a:t> año, se acivan las 3 marcas mas fuertes de la categoría</a:t>
            </a:r>
            <a:r>
              <a:rPr lang="es-HN" sz="1150" dirty="0">
                <a:solidFill>
                  <a:srgbClr val="0D0D0D"/>
                </a:solidFill>
                <a:latin typeface="Söhne"/>
              </a:rPr>
              <a:t>,.</a:t>
            </a:r>
          </a:p>
          <a:p>
            <a:pPr algn="l"/>
            <a:r>
              <a:rPr lang="es-HN" sz="1150" b="0" i="0" dirty="0">
                <a:solidFill>
                  <a:srgbClr val="0D0D0D"/>
                </a:solidFill>
                <a:effectLst/>
                <a:latin typeface="Söhne"/>
              </a:rPr>
              <a:t>Cardio Delor encabeza con el </a:t>
            </a:r>
            <a:r>
              <a:rPr lang="es-HN" sz="1150" dirty="0">
                <a:solidFill>
                  <a:srgbClr val="0D0D0D"/>
                </a:solidFill>
                <a:latin typeface="Söhne"/>
              </a:rPr>
              <a:t>55</a:t>
            </a:r>
            <a:r>
              <a:rPr lang="es-HN" sz="1150" b="0" i="0" dirty="0">
                <a:solidFill>
                  <a:srgbClr val="0D0D0D"/>
                </a:solidFill>
                <a:effectLst/>
                <a:latin typeface="Söhne"/>
              </a:rPr>
              <a:t>% del Índice de SOI.</a:t>
            </a:r>
          </a:p>
          <a:p>
            <a:pPr algn="l"/>
            <a:r>
              <a:rPr lang="es-HN" sz="1150" b="0" i="0" dirty="0">
                <a:solidFill>
                  <a:srgbClr val="0D0D0D"/>
                </a:solidFill>
                <a:effectLst/>
                <a:latin typeface="Söhne"/>
              </a:rPr>
              <a:t>Por otro lado, CardioAspirina se ubica en la 2da posición en el SOI y SOV, focalizándose en espacios de noticias y patrocinando secciones, con un COE de </a:t>
            </a:r>
            <a:r>
              <a:rPr lang="es-HN" sz="1150" dirty="0">
                <a:solidFill>
                  <a:srgbClr val="0D0D0D"/>
                </a:solidFill>
                <a:latin typeface="Söhne"/>
              </a:rPr>
              <a:t>1.90, el mas alto de la categoría.</a:t>
            </a:r>
            <a:endParaRPr lang="es-HN" sz="1150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/>
            <a:r>
              <a:rPr lang="es-HN" sz="1150" b="0" i="0" dirty="0">
                <a:solidFill>
                  <a:srgbClr val="0D0D0D"/>
                </a:solidFill>
                <a:effectLst/>
                <a:latin typeface="Söhne"/>
              </a:rPr>
              <a:t>En cuanto a la distribución de espacios,la concentración está en noticieros con e </a:t>
            </a:r>
            <a:r>
              <a:rPr lang="es-HN" sz="1150" dirty="0">
                <a:solidFill>
                  <a:srgbClr val="0D0D0D"/>
                </a:solidFill>
                <a:latin typeface="Söhne"/>
              </a:rPr>
              <a:t>55</a:t>
            </a:r>
            <a:r>
              <a:rPr lang="es-HN" sz="1150" b="0" i="0" dirty="0">
                <a:solidFill>
                  <a:srgbClr val="0D0D0D"/>
                </a:solidFill>
                <a:effectLst/>
                <a:latin typeface="Söhne"/>
              </a:rPr>
              <a:t>% de la pauta.  Delor muestra una selección más variada en el canal VTV, pero no es efectiva, su COE es de 0.69.</a:t>
            </a:r>
          </a:p>
          <a:p>
            <a:r>
              <a:rPr lang="es-MX" sz="1150" dirty="0">
                <a:latin typeface="Abadi" panose="020B0604020104020204" pitchFamily="34" charset="0"/>
              </a:rPr>
              <a:t>.</a:t>
            </a:r>
          </a:p>
          <a:p>
            <a:endParaRPr lang="es-MX" sz="1150" dirty="0">
              <a:latin typeface="Abadi" panose="020B0604020104020204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1AB5A22-D25F-4A53-8305-C43193081AA7}"/>
              </a:ext>
            </a:extLst>
          </p:cNvPr>
          <p:cNvCxnSpPr>
            <a:cxnSpLocks/>
          </p:cNvCxnSpPr>
          <p:nvPr/>
        </p:nvCxnSpPr>
        <p:spPr>
          <a:xfrm>
            <a:off x="8719463" y="-194425"/>
            <a:ext cx="0" cy="3809329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65" name="Chart 64">
            <a:extLst>
              <a:ext uri="{FF2B5EF4-FFF2-40B4-BE49-F238E27FC236}">
                <a16:creationId xmlns:a16="http://schemas.microsoft.com/office/drawing/2014/main" id="{F99528B7-E46E-4001-AE6D-7F23D6E800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5495293"/>
              </p:ext>
            </p:extLst>
          </p:nvPr>
        </p:nvGraphicFramePr>
        <p:xfrm>
          <a:off x="8741231" y="728089"/>
          <a:ext cx="3450769" cy="2790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68" name="Chart 26">
            <a:extLst>
              <a:ext uri="{FF2B5EF4-FFF2-40B4-BE49-F238E27FC236}">
                <a16:creationId xmlns:a16="http://schemas.microsoft.com/office/drawing/2014/main" id="{2A791AC6-E953-FC48-B96D-327F850B31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16093756"/>
              </p:ext>
            </p:extLst>
          </p:nvPr>
        </p:nvGraphicFramePr>
        <p:xfrm>
          <a:off x="4664757" y="728090"/>
          <a:ext cx="3694720" cy="2721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37" name="Tabla 10">
            <a:extLst>
              <a:ext uri="{FF2B5EF4-FFF2-40B4-BE49-F238E27FC236}">
                <a16:creationId xmlns:a16="http://schemas.microsoft.com/office/drawing/2014/main" id="{35FE368D-64FA-6A4A-B841-C06FD52E0A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4460522"/>
              </p:ext>
            </p:extLst>
          </p:nvPr>
        </p:nvGraphicFramePr>
        <p:xfrm>
          <a:off x="3582341" y="822360"/>
          <a:ext cx="919930" cy="2408113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526363">
                  <a:extLst>
                    <a:ext uri="{9D8B030D-6E8A-4147-A177-3AD203B41FA5}">
                      <a16:colId xmlns:a16="http://schemas.microsoft.com/office/drawing/2014/main" val="3008694403"/>
                    </a:ext>
                  </a:extLst>
                </a:gridCol>
                <a:gridCol w="393567">
                  <a:extLst>
                    <a:ext uri="{9D8B030D-6E8A-4147-A177-3AD203B41FA5}">
                      <a16:colId xmlns:a16="http://schemas.microsoft.com/office/drawing/2014/main" val="2005018064"/>
                    </a:ext>
                  </a:extLst>
                </a:gridCol>
              </a:tblGrid>
              <a:tr h="355744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Grp’s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SOV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843301"/>
                  </a:ext>
                </a:extLst>
              </a:tr>
              <a:tr h="684123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2,15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4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4059227"/>
                  </a:ext>
                </a:extLst>
              </a:tr>
              <a:tr h="684123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1,93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4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08031915"/>
                  </a:ext>
                </a:extLst>
              </a:tr>
              <a:tr h="684123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7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1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101016"/>
                  </a:ext>
                </a:extLst>
              </a:tr>
            </a:tbl>
          </a:graphicData>
        </a:graphic>
      </p:graphicFrame>
      <p:pic>
        <p:nvPicPr>
          <p:cNvPr id="8" name="50406320255160000-1922-1952.mp4" descr="50406320255160000-1922-1952.mp4">
            <a:hlinkClick r:id="" action="ppaction://media"/>
            <a:extLst>
              <a:ext uri="{FF2B5EF4-FFF2-40B4-BE49-F238E27FC236}">
                <a16:creationId xmlns:a16="http://schemas.microsoft.com/office/drawing/2014/main" id="{9A297D4A-7EF2-484B-A65F-A8BE0988FA4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3"/>
          <a:stretch>
            <a:fillRect/>
          </a:stretch>
        </p:blipFill>
        <p:spPr>
          <a:xfrm>
            <a:off x="4964624" y="4502698"/>
            <a:ext cx="1886809" cy="1234746"/>
          </a:xfrm>
          <a:prstGeom prst="rect">
            <a:avLst/>
          </a:prstGeom>
        </p:spPr>
      </p:pic>
      <p:graphicFrame>
        <p:nvGraphicFramePr>
          <p:cNvPr id="45" name="Tabla 12">
            <a:extLst>
              <a:ext uri="{FF2B5EF4-FFF2-40B4-BE49-F238E27FC236}">
                <a16:creationId xmlns:a16="http://schemas.microsoft.com/office/drawing/2014/main" id="{CD407867-F02B-684C-B1FF-46AC81135C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6009858"/>
              </p:ext>
            </p:extLst>
          </p:nvPr>
        </p:nvGraphicFramePr>
        <p:xfrm>
          <a:off x="1538711" y="3230473"/>
          <a:ext cx="1765419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1690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537692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576037">
                  <a:extLst>
                    <a:ext uri="{9D8B030D-6E8A-4147-A177-3AD203B41FA5}">
                      <a16:colId xmlns:a16="http://schemas.microsoft.com/office/drawing/2014/main" val="339206506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32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2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42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46" name="Tabla 12">
            <a:extLst>
              <a:ext uri="{FF2B5EF4-FFF2-40B4-BE49-F238E27FC236}">
                <a16:creationId xmlns:a16="http://schemas.microsoft.com/office/drawing/2014/main" id="{ABD8A756-20EC-C548-B79B-E3A26ACC196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6005748"/>
              </p:ext>
            </p:extLst>
          </p:nvPr>
        </p:nvGraphicFramePr>
        <p:xfrm>
          <a:off x="4849651" y="3327948"/>
          <a:ext cx="3412960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82592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682592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682592">
                  <a:extLst>
                    <a:ext uri="{9D8B030D-6E8A-4147-A177-3AD203B41FA5}">
                      <a16:colId xmlns:a16="http://schemas.microsoft.com/office/drawing/2014/main" val="2289583996"/>
                    </a:ext>
                  </a:extLst>
                </a:gridCol>
                <a:gridCol w="682592">
                  <a:extLst>
                    <a:ext uri="{9D8B030D-6E8A-4147-A177-3AD203B41FA5}">
                      <a16:colId xmlns:a16="http://schemas.microsoft.com/office/drawing/2014/main" val="3810254947"/>
                    </a:ext>
                  </a:extLst>
                </a:gridCol>
                <a:gridCol w="682592">
                  <a:extLst>
                    <a:ext uri="{9D8B030D-6E8A-4147-A177-3AD203B41FA5}">
                      <a16:colId xmlns:a16="http://schemas.microsoft.com/office/drawing/2014/main" val="1680873913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55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4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4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47" name="Tabla 12">
            <a:extLst>
              <a:ext uri="{FF2B5EF4-FFF2-40B4-BE49-F238E27FC236}">
                <a16:creationId xmlns:a16="http://schemas.microsoft.com/office/drawing/2014/main" id="{FCD9E74D-BF1D-8749-8778-E687B206FC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2133598"/>
              </p:ext>
            </p:extLst>
          </p:nvPr>
        </p:nvGraphicFramePr>
        <p:xfrm>
          <a:off x="9530579" y="3341079"/>
          <a:ext cx="1769752" cy="2738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2438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442438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442438">
                  <a:extLst>
                    <a:ext uri="{9D8B030D-6E8A-4147-A177-3AD203B41FA5}">
                      <a16:colId xmlns:a16="http://schemas.microsoft.com/office/drawing/2014/main" val="4013136106"/>
                    </a:ext>
                  </a:extLst>
                </a:gridCol>
                <a:gridCol w="442438">
                  <a:extLst>
                    <a:ext uri="{9D8B030D-6E8A-4147-A177-3AD203B41FA5}">
                      <a16:colId xmlns:a16="http://schemas.microsoft.com/office/drawing/2014/main" val="3810254947"/>
                    </a:ext>
                  </a:extLst>
                </a:gridCol>
              </a:tblGrid>
              <a:tr h="273824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4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69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pic>
        <p:nvPicPr>
          <p:cNvPr id="3" name="50406524039080000-1148-1176.mp4" descr="50406524039080000-1148-1176.mp4">
            <a:hlinkClick r:id="" action="ppaction://media"/>
            <a:extLst>
              <a:ext uri="{FF2B5EF4-FFF2-40B4-BE49-F238E27FC236}">
                <a16:creationId xmlns:a16="http://schemas.microsoft.com/office/drawing/2014/main" id="{88DC9F6C-959F-AE42-907E-11C10EBAADCF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4"/>
          <a:stretch>
            <a:fillRect/>
          </a:stretch>
        </p:blipFill>
        <p:spPr>
          <a:xfrm>
            <a:off x="7066219" y="4502698"/>
            <a:ext cx="1917126" cy="1234747"/>
          </a:xfrm>
          <a:prstGeom prst="rect">
            <a:avLst/>
          </a:prstGeom>
        </p:spPr>
      </p:pic>
      <p:sp>
        <p:nvSpPr>
          <p:cNvPr id="30" name="TextBox 48">
            <a:extLst>
              <a:ext uri="{FF2B5EF4-FFF2-40B4-BE49-F238E27FC236}">
                <a16:creationId xmlns:a16="http://schemas.microsoft.com/office/drawing/2014/main" id="{42196B3D-CEDA-9749-B259-38B96442D07F}"/>
              </a:ext>
            </a:extLst>
          </p:cNvPr>
          <p:cNvSpPr txBox="1"/>
          <p:nvPr/>
        </p:nvSpPr>
        <p:spPr>
          <a:xfrm>
            <a:off x="7011055" y="5737445"/>
            <a:ext cx="19171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b="1" dirty="0">
                <a:latin typeface="Abadi" panose="020B0604020104020204" pitchFamily="34" charset="0"/>
              </a:rPr>
              <a:t>Cardio Vital </a:t>
            </a:r>
            <a:r>
              <a:rPr lang="es-MX" sz="1000" dirty="0">
                <a:latin typeface="Abadi" panose="020B0604020104020204" pitchFamily="34" charset="0"/>
              </a:rPr>
              <a:t> – Uno, uno dos</a:t>
            </a:r>
          </a:p>
        </p:txBody>
      </p:sp>
    </p:spTree>
    <p:extLst>
      <p:ext uri="{BB962C8B-B14F-4D97-AF65-F5344CB8AC3E}">
        <p14:creationId xmlns:p14="http://schemas.microsoft.com/office/powerpoint/2010/main" val="3908340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8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8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8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8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  <p:extLst>
    <p:ext uri="{6950BFC3-D8DA-4A85-94F7-54DA5524770B}">
      <p188:commentRel xmlns:p188="http://schemas.microsoft.com/office/powerpoint/2018/8/main" r:id="rId7"/>
    </p:ext>
  </p:extLs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408" y="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CARDÍACO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CE2A666-5A11-4E16-A61A-50F8F6DB60B1}"/>
              </a:ext>
            </a:extLst>
          </p:cNvPr>
          <p:cNvSpPr/>
          <p:nvPr/>
        </p:nvSpPr>
        <p:spPr>
          <a:xfrm>
            <a:off x="5333214" y="607962"/>
            <a:ext cx="1608866" cy="22590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5068628-66AB-4882-89F7-38BC30276AAB}"/>
              </a:ext>
            </a:extLst>
          </p:cNvPr>
          <p:cNvSpPr txBox="1"/>
          <p:nvPr/>
        </p:nvSpPr>
        <p:spPr>
          <a:xfrm>
            <a:off x="4647337" y="563303"/>
            <a:ext cx="29816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600" dirty="0"/>
              <a:t>TÁCTICAS BAYER</a:t>
            </a:r>
          </a:p>
        </p:txBody>
      </p:sp>
      <p:sp>
        <p:nvSpPr>
          <p:cNvPr id="63" name="Title 1">
            <a:extLst>
              <a:ext uri="{FF2B5EF4-FFF2-40B4-BE49-F238E27FC236}">
                <a16:creationId xmlns:a16="http://schemas.microsoft.com/office/drawing/2014/main" id="{37C733DC-BC95-4E93-B24E-E6E3244025DC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40-60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 2024 </a:t>
            </a:r>
          </a:p>
        </p:txBody>
      </p:sp>
      <p:pic>
        <p:nvPicPr>
          <p:cNvPr id="64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A1513007-9818-4183-B323-4A8938FEA9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0AFB4ED1-6F9C-451F-B2AE-2511A55397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10">
            <a:extLst>
              <a:ext uri="{FF2B5EF4-FFF2-40B4-BE49-F238E27FC236}">
                <a16:creationId xmlns:a16="http://schemas.microsoft.com/office/drawing/2014/main" id="{78591E11-24F8-4B46-B4C6-B424FD3BF05D}"/>
              </a:ext>
            </a:extLst>
          </p:cNvPr>
          <p:cNvSpPr txBox="1"/>
          <p:nvPr/>
        </p:nvSpPr>
        <p:spPr>
          <a:xfrm>
            <a:off x="2572199" y="954214"/>
            <a:ext cx="1226618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R" sz="1300" b="1" dirty="0" err="1">
                <a:latin typeface="Abadi" panose="020B0604020104020204" pitchFamily="34" charset="0"/>
                <a:ea typeface="Merriweather"/>
                <a:cs typeface="Merriweather"/>
              </a:rPr>
              <a:t>CardioAspirina</a:t>
            </a:r>
            <a:endParaRPr lang="es-CR" sz="1300" b="1" dirty="0">
              <a:latin typeface="Abadi" panose="020B0604020104020204" pitchFamily="34" charset="0"/>
              <a:ea typeface="Merriweather"/>
              <a:cs typeface="Merriweather"/>
            </a:endParaRPr>
          </a:p>
        </p:txBody>
      </p:sp>
      <p:sp>
        <p:nvSpPr>
          <p:cNvPr id="67" name="Marcador de contenido 2">
            <a:extLst>
              <a:ext uri="{FF2B5EF4-FFF2-40B4-BE49-F238E27FC236}">
                <a16:creationId xmlns:a16="http://schemas.microsoft.com/office/drawing/2014/main" id="{6C9FAEB1-3810-478C-840A-9D62FEDFB20D}"/>
              </a:ext>
            </a:extLst>
          </p:cNvPr>
          <p:cNvSpPr txBox="1">
            <a:spLocks/>
          </p:cNvSpPr>
          <p:nvPr/>
        </p:nvSpPr>
        <p:spPr>
          <a:xfrm>
            <a:off x="1960075" y="3042087"/>
            <a:ext cx="2507957" cy="1026320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Ac</a:t>
            </a:r>
            <a:r>
              <a:rPr lang="es-MX" sz="1200" dirty="0">
                <a:latin typeface="Abadi" panose="020B0604020104020204" pitchFamily="34" charset="0"/>
              </a:rPr>
              <a:t>tividad en Radio, con pauta rotativa en emisoras musicales adulto contemporáneo, de salud y del recuerdo.</a:t>
            </a:r>
          </a:p>
        </p:txBody>
      </p:sp>
      <p:sp>
        <p:nvSpPr>
          <p:cNvPr id="68" name="Marcador de contenido 2">
            <a:extLst>
              <a:ext uri="{FF2B5EF4-FFF2-40B4-BE49-F238E27FC236}">
                <a16:creationId xmlns:a16="http://schemas.microsoft.com/office/drawing/2014/main" id="{AEF0D607-8ECC-4362-A3C0-B6CB48E9469F}"/>
              </a:ext>
            </a:extLst>
          </p:cNvPr>
          <p:cNvSpPr txBox="1">
            <a:spLocks/>
          </p:cNvSpPr>
          <p:nvPr/>
        </p:nvSpPr>
        <p:spPr>
          <a:xfrm>
            <a:off x="1960072" y="4281635"/>
            <a:ext cx="2507957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2060"/>
              </a:buClr>
              <a:buNone/>
            </a:pPr>
            <a:r>
              <a:rPr lang="es-CR" sz="11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n-US" sz="1100" dirty="0" err="1">
                <a:latin typeface="Abadi" panose="020B0604020104020204" pitchFamily="34" charset="0"/>
              </a:rPr>
              <a:t>Traseras</a:t>
            </a:r>
            <a:r>
              <a:rPr lang="en-US" sz="1100" dirty="0">
                <a:latin typeface="Abadi" panose="020B0604020104020204" pitchFamily="34" charset="0"/>
              </a:rPr>
              <a:t> y laterals de buses </a:t>
            </a:r>
            <a:r>
              <a:rPr lang="en-US" sz="1100" dirty="0" err="1">
                <a:latin typeface="Abadi" panose="020B0604020104020204" pitchFamily="34" charset="0"/>
              </a:rPr>
              <a:t>en</a:t>
            </a:r>
            <a:r>
              <a:rPr lang="en-US" sz="1100" dirty="0">
                <a:latin typeface="Abadi" panose="020B0604020104020204" pitchFamily="34" charset="0"/>
              </a:rPr>
              <a:t> Tegucigalpa y San Pedro Sula (11 por ciudad) </a:t>
            </a:r>
            <a:endParaRPr lang="es-MX" sz="1100" dirty="0">
              <a:latin typeface="Abadi" panose="020B0604020104020204" pitchFamily="34" charset="0"/>
            </a:endParaRPr>
          </a:p>
        </p:txBody>
      </p:sp>
      <p:sp>
        <p:nvSpPr>
          <p:cNvPr id="69" name="Marcador de contenido 2">
            <a:extLst>
              <a:ext uri="{FF2B5EF4-FFF2-40B4-BE49-F238E27FC236}">
                <a16:creationId xmlns:a16="http://schemas.microsoft.com/office/drawing/2014/main" id="{2DB402FF-6B37-478C-BCFE-5804060C52EA}"/>
              </a:ext>
            </a:extLst>
          </p:cNvPr>
          <p:cNvSpPr txBox="1">
            <a:spLocks/>
          </p:cNvSpPr>
          <p:nvPr/>
        </p:nvSpPr>
        <p:spPr>
          <a:xfrm>
            <a:off x="4814807" y="4281635"/>
            <a:ext cx="2507961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No aplica en HN</a:t>
            </a:r>
          </a:p>
          <a:p>
            <a:pPr marL="0" indent="0">
              <a:buNone/>
            </a:pPr>
            <a:endParaRPr lang="es-MX" sz="1200" dirty="0">
              <a:latin typeface="Abadi" panose="020B0604020104020204" pitchFamily="34" charset="0"/>
            </a:endParaRPr>
          </a:p>
        </p:txBody>
      </p:sp>
      <p:pic>
        <p:nvPicPr>
          <p:cNvPr id="70" name="Imagen 11">
            <a:extLst>
              <a:ext uri="{FF2B5EF4-FFF2-40B4-BE49-F238E27FC236}">
                <a16:creationId xmlns:a16="http://schemas.microsoft.com/office/drawing/2014/main" id="{451B553E-ED32-4F1D-A6FF-03C216BBB12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95" y="1747895"/>
            <a:ext cx="672955" cy="672955"/>
          </a:xfrm>
          <a:prstGeom prst="rect">
            <a:avLst/>
          </a:prstGeom>
        </p:spPr>
      </p:pic>
      <p:pic>
        <p:nvPicPr>
          <p:cNvPr id="71" name="Imagen 14">
            <a:extLst>
              <a:ext uri="{FF2B5EF4-FFF2-40B4-BE49-F238E27FC236}">
                <a16:creationId xmlns:a16="http://schemas.microsoft.com/office/drawing/2014/main" id="{2C069AEB-59AA-4C87-9A84-BA749CF3608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8" y="4731461"/>
            <a:ext cx="594850" cy="594850"/>
          </a:xfrm>
          <a:prstGeom prst="rect">
            <a:avLst/>
          </a:prstGeom>
        </p:spPr>
      </p:pic>
      <p:pic>
        <p:nvPicPr>
          <p:cNvPr id="72" name="Imagen 15">
            <a:extLst>
              <a:ext uri="{FF2B5EF4-FFF2-40B4-BE49-F238E27FC236}">
                <a16:creationId xmlns:a16="http://schemas.microsoft.com/office/drawing/2014/main" id="{DFAE6BED-7440-400D-BA2C-D6B241ACC46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95" y="3228641"/>
            <a:ext cx="653212" cy="653212"/>
          </a:xfrm>
          <a:prstGeom prst="rect">
            <a:avLst/>
          </a:prstGeom>
        </p:spPr>
      </p:pic>
      <p:sp>
        <p:nvSpPr>
          <p:cNvPr id="73" name="Marcador de contenido 2">
            <a:extLst>
              <a:ext uri="{FF2B5EF4-FFF2-40B4-BE49-F238E27FC236}">
                <a16:creationId xmlns:a16="http://schemas.microsoft.com/office/drawing/2014/main" id="{0FE48130-2DCC-4967-9041-99028F194917}"/>
              </a:ext>
            </a:extLst>
          </p:cNvPr>
          <p:cNvSpPr txBox="1">
            <a:spLocks/>
          </p:cNvSpPr>
          <p:nvPr/>
        </p:nvSpPr>
        <p:spPr>
          <a:xfrm>
            <a:off x="7714864" y="3042087"/>
            <a:ext cx="2516272" cy="1071946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No aplica en HN. </a:t>
            </a:r>
          </a:p>
        </p:txBody>
      </p:sp>
      <p:sp>
        <p:nvSpPr>
          <p:cNvPr id="74" name="Marcador de contenido 2">
            <a:extLst>
              <a:ext uri="{FF2B5EF4-FFF2-40B4-BE49-F238E27FC236}">
                <a16:creationId xmlns:a16="http://schemas.microsoft.com/office/drawing/2014/main" id="{E014B9DE-E3C2-44BF-9EC0-757CACC94D4F}"/>
              </a:ext>
            </a:extLst>
          </p:cNvPr>
          <p:cNvSpPr txBox="1">
            <a:spLocks/>
          </p:cNvSpPr>
          <p:nvPr/>
        </p:nvSpPr>
        <p:spPr>
          <a:xfrm>
            <a:off x="4804948" y="3042087"/>
            <a:ext cx="2507168" cy="1071946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No aplica en HN. </a:t>
            </a:r>
          </a:p>
        </p:txBody>
      </p:sp>
      <p:sp>
        <p:nvSpPr>
          <p:cNvPr id="75" name="Marcador de contenido 2">
            <a:extLst>
              <a:ext uri="{FF2B5EF4-FFF2-40B4-BE49-F238E27FC236}">
                <a16:creationId xmlns:a16="http://schemas.microsoft.com/office/drawing/2014/main" id="{29EBDD38-CE8F-4582-BCCB-E65D51FEF352}"/>
              </a:ext>
            </a:extLst>
          </p:cNvPr>
          <p:cNvSpPr txBox="1">
            <a:spLocks/>
          </p:cNvSpPr>
          <p:nvPr/>
        </p:nvSpPr>
        <p:spPr>
          <a:xfrm>
            <a:off x="7714860" y="4281635"/>
            <a:ext cx="2507961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No aplica en HN. </a:t>
            </a:r>
          </a:p>
        </p:txBody>
      </p:sp>
      <p:sp>
        <p:nvSpPr>
          <p:cNvPr id="76" name="Marcador de contenido 2">
            <a:extLst>
              <a:ext uri="{FF2B5EF4-FFF2-40B4-BE49-F238E27FC236}">
                <a16:creationId xmlns:a16="http://schemas.microsoft.com/office/drawing/2014/main" id="{D5959A5B-6FD9-44E2-AD34-59EABB03BAD5}"/>
              </a:ext>
            </a:extLst>
          </p:cNvPr>
          <p:cNvSpPr txBox="1">
            <a:spLocks/>
          </p:cNvSpPr>
          <p:nvPr/>
        </p:nvSpPr>
        <p:spPr>
          <a:xfrm>
            <a:off x="4807516" y="1345124"/>
            <a:ext cx="2507168" cy="1471315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No aplica en HN </a:t>
            </a:r>
          </a:p>
        </p:txBody>
      </p:sp>
      <p:sp>
        <p:nvSpPr>
          <p:cNvPr id="78" name="Marcador de contenido 2">
            <a:extLst>
              <a:ext uri="{FF2B5EF4-FFF2-40B4-BE49-F238E27FC236}">
                <a16:creationId xmlns:a16="http://schemas.microsoft.com/office/drawing/2014/main" id="{55D8C8E5-6315-4B11-8790-09790CA96B06}"/>
              </a:ext>
            </a:extLst>
          </p:cNvPr>
          <p:cNvSpPr txBox="1">
            <a:spLocks/>
          </p:cNvSpPr>
          <p:nvPr/>
        </p:nvSpPr>
        <p:spPr>
          <a:xfrm>
            <a:off x="7717435" y="1345124"/>
            <a:ext cx="2507957" cy="1471315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No apli a en HN. 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endParaRPr lang="es-MX" sz="1200" dirty="0">
              <a:latin typeface="Abadi" panose="020B0604020104020204" pitchFamily="34" charset="0"/>
            </a:endParaRPr>
          </a:p>
        </p:txBody>
      </p:sp>
      <p:sp>
        <p:nvSpPr>
          <p:cNvPr id="80" name="Marcador de contenido 2">
            <a:extLst>
              <a:ext uri="{FF2B5EF4-FFF2-40B4-BE49-F238E27FC236}">
                <a16:creationId xmlns:a16="http://schemas.microsoft.com/office/drawing/2014/main" id="{69D9BD66-246A-41B3-9527-9B47AF61F6ED}"/>
              </a:ext>
            </a:extLst>
          </p:cNvPr>
          <p:cNvSpPr txBox="1">
            <a:spLocks/>
          </p:cNvSpPr>
          <p:nvPr/>
        </p:nvSpPr>
        <p:spPr>
          <a:xfrm>
            <a:off x="1960076" y="1352305"/>
            <a:ext cx="2507957" cy="1464134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r>
              <a:rPr lang="es-MX" sz="1200" dirty="0">
                <a:latin typeface="Abadi" panose="020B0604020104020204" pitchFamily="34" charset="0"/>
              </a:rPr>
              <a:t>Not. HCH Meridiano | Patroc Sec. Not. La Tarde | Short Video en Cantinfias de C5</a:t>
            </a:r>
          </a:p>
          <a:p>
            <a:r>
              <a:rPr lang="es-MX" sz="1200" dirty="0">
                <a:latin typeface="Abadi" panose="020B0604020104020204" pitchFamily="34" charset="0"/>
              </a:rPr>
              <a:t>Resultados: trps 788 | 97 Msj | COI = 1.89</a:t>
            </a:r>
          </a:p>
          <a:p>
            <a:endParaRPr lang="es-MX" sz="1200" dirty="0">
              <a:latin typeface="Abadi" panose="020B0604020104020204" pitchFamily="34" charset="0"/>
            </a:endParaRPr>
          </a:p>
          <a:p>
            <a:pPr marL="0" indent="0">
              <a:buNone/>
            </a:pPr>
            <a:r>
              <a:rPr lang="es-MX" sz="1200" dirty="0">
                <a:latin typeface="Abadi" panose="020B0604020104020204" pitchFamily="34" charset="0"/>
              </a:rPr>
              <a:t> </a:t>
            </a:r>
          </a:p>
        </p:txBody>
      </p:sp>
      <p:sp>
        <p:nvSpPr>
          <p:cNvPr id="81" name="Marcador de contenido 2">
            <a:extLst>
              <a:ext uri="{FF2B5EF4-FFF2-40B4-BE49-F238E27FC236}">
                <a16:creationId xmlns:a16="http://schemas.microsoft.com/office/drawing/2014/main" id="{C4640BF2-1194-4F37-9A26-5FCA45345626}"/>
              </a:ext>
            </a:extLst>
          </p:cNvPr>
          <p:cNvSpPr txBox="1">
            <a:spLocks/>
          </p:cNvSpPr>
          <p:nvPr/>
        </p:nvSpPr>
        <p:spPr>
          <a:xfrm>
            <a:off x="4800600" y="5942505"/>
            <a:ext cx="2511517" cy="779403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No aplica en HN. </a:t>
            </a:r>
          </a:p>
          <a:p>
            <a:pPr marL="0" indent="0">
              <a:buNone/>
            </a:pPr>
            <a:endParaRPr lang="es-MX" sz="1200" dirty="0">
              <a:latin typeface="Abadi" panose="020B0604020104020204" pitchFamily="34" charset="0"/>
            </a:endParaRPr>
          </a:p>
        </p:txBody>
      </p:sp>
      <p:pic>
        <p:nvPicPr>
          <p:cNvPr id="82" name="Imagen 2">
            <a:extLst>
              <a:ext uri="{FF2B5EF4-FFF2-40B4-BE49-F238E27FC236}">
                <a16:creationId xmlns:a16="http://schemas.microsoft.com/office/drawing/2014/main" id="{88859596-E568-4A8A-AAB7-A7377F7FDFC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8" y="5971987"/>
            <a:ext cx="674242" cy="674242"/>
          </a:xfrm>
          <a:prstGeom prst="rect">
            <a:avLst/>
          </a:prstGeom>
        </p:spPr>
      </p:pic>
      <p:sp>
        <p:nvSpPr>
          <p:cNvPr id="83" name="Marcador de contenido 2">
            <a:extLst>
              <a:ext uri="{FF2B5EF4-FFF2-40B4-BE49-F238E27FC236}">
                <a16:creationId xmlns:a16="http://schemas.microsoft.com/office/drawing/2014/main" id="{ECACCD17-3A10-4924-A6CB-17729ADBDC3A}"/>
              </a:ext>
            </a:extLst>
          </p:cNvPr>
          <p:cNvSpPr txBox="1">
            <a:spLocks/>
          </p:cNvSpPr>
          <p:nvPr/>
        </p:nvSpPr>
        <p:spPr>
          <a:xfrm>
            <a:off x="1958009" y="5942505"/>
            <a:ext cx="2510020" cy="779403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</p:txBody>
      </p:sp>
      <p:sp>
        <p:nvSpPr>
          <p:cNvPr id="84" name="Marcador de contenido 2">
            <a:extLst>
              <a:ext uri="{FF2B5EF4-FFF2-40B4-BE49-F238E27FC236}">
                <a16:creationId xmlns:a16="http://schemas.microsoft.com/office/drawing/2014/main" id="{A704B52E-2930-4AD0-9DB1-C6523E331A6D}"/>
              </a:ext>
            </a:extLst>
          </p:cNvPr>
          <p:cNvSpPr txBox="1">
            <a:spLocks/>
          </p:cNvSpPr>
          <p:nvPr/>
        </p:nvSpPr>
        <p:spPr>
          <a:xfrm>
            <a:off x="7714860" y="5942505"/>
            <a:ext cx="2516272" cy="751909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No aplica en HN. </a:t>
            </a:r>
          </a:p>
        </p:txBody>
      </p:sp>
    </p:spTree>
    <p:extLst>
      <p:ext uri="{BB962C8B-B14F-4D97-AF65-F5344CB8AC3E}">
        <p14:creationId xmlns:p14="http://schemas.microsoft.com/office/powerpoint/2010/main" val="4060990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A66843B-C54E-4A68-84F5-289CC97225A7}"/>
              </a:ext>
            </a:extLst>
          </p:cNvPr>
          <p:cNvSpPr/>
          <p:nvPr/>
        </p:nvSpPr>
        <p:spPr>
          <a:xfrm>
            <a:off x="8527333" y="4268136"/>
            <a:ext cx="998979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aphicFrame>
        <p:nvGraphicFramePr>
          <p:cNvPr id="42" name="Marcador de contenido 10">
            <a:extLst>
              <a:ext uri="{FF2B5EF4-FFF2-40B4-BE49-F238E27FC236}">
                <a16:creationId xmlns:a16="http://schemas.microsoft.com/office/drawing/2014/main" id="{D56C3FD9-F7AF-421C-BBFF-8C2B0C4F68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00090422"/>
              </p:ext>
            </p:extLst>
          </p:nvPr>
        </p:nvGraphicFramePr>
        <p:xfrm>
          <a:off x="5871868" y="4172806"/>
          <a:ext cx="6319340" cy="2572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23390A8-F290-43A7-9F96-E609942B5670}"/>
              </a:ext>
            </a:extLst>
          </p:cNvPr>
          <p:cNvSpPr/>
          <p:nvPr/>
        </p:nvSpPr>
        <p:spPr>
          <a:xfrm>
            <a:off x="2466999" y="4260466"/>
            <a:ext cx="90816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D3A9D05-F844-431B-BCAC-44C0143702CC}"/>
              </a:ext>
            </a:extLst>
          </p:cNvPr>
          <p:cNvSpPr/>
          <p:nvPr/>
        </p:nvSpPr>
        <p:spPr>
          <a:xfrm>
            <a:off x="8449036" y="827087"/>
            <a:ext cx="120876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040C8B7-2A6E-412B-9010-BE3A5BB222EA}"/>
              </a:ext>
            </a:extLst>
          </p:cNvPr>
          <p:cNvSpPr/>
          <p:nvPr/>
        </p:nvSpPr>
        <p:spPr>
          <a:xfrm>
            <a:off x="2137383" y="839328"/>
            <a:ext cx="2850204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526" y="-8159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ÁCIDO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5871868" y="-56288"/>
            <a:ext cx="0" cy="69827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4154266"/>
            <a:ext cx="12221107" cy="10448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21" name="Gráfico 16">
            <a:extLst>
              <a:ext uri="{FF2B5EF4-FFF2-40B4-BE49-F238E27FC236}">
                <a16:creationId xmlns:a16="http://schemas.microsoft.com/office/drawing/2014/main" id="{9614D2A4-6A3E-4675-BF63-453B74AC72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68128961"/>
              </p:ext>
            </p:extLst>
          </p:nvPr>
        </p:nvGraphicFramePr>
        <p:xfrm>
          <a:off x="5943595" y="739677"/>
          <a:ext cx="6246693" cy="3414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68A1F49-03A0-40BB-B4C3-C4CB8AC72F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24961983"/>
              </p:ext>
            </p:extLst>
          </p:nvPr>
        </p:nvGraphicFramePr>
        <p:xfrm>
          <a:off x="1149214" y="826898"/>
          <a:ext cx="4702598" cy="2271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785628DB-99DF-4C03-B512-C43CDD204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62588706"/>
              </p:ext>
            </p:extLst>
          </p:nvPr>
        </p:nvGraphicFramePr>
        <p:xfrm>
          <a:off x="2049881" y="2816225"/>
          <a:ext cx="3783013" cy="134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5" name="Hoja de cálculo" r:id="rId8" imgW="4076700" imgH="1346200" progId="Excel.Sheet.12">
                  <p:embed/>
                </p:oleObj>
              </mc:Choice>
              <mc:Fallback>
                <p:oleObj name="Hoja de cálculo" r:id="rId8" imgW="4076700" imgH="1346200" progId="Excel.Sheet.12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785628DB-99DF-4C03-B512-C43CDD204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49881" y="2816225"/>
                        <a:ext cx="3783013" cy="1346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748B412C-65AF-401C-A123-954C9807BA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5147462"/>
              </p:ext>
            </p:extLst>
          </p:nvPr>
        </p:nvGraphicFramePr>
        <p:xfrm>
          <a:off x="-29107" y="4172807"/>
          <a:ext cx="5900972" cy="2685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7" name="Object 36">
            <a:extLst>
              <a:ext uri="{FF2B5EF4-FFF2-40B4-BE49-F238E27FC236}">
                <a16:creationId xmlns:a16="http://schemas.microsoft.com/office/drawing/2014/main" id="{E3329616-4A16-4E9F-BC32-F9AE170E7E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50807294"/>
              </p:ext>
            </p:extLst>
          </p:nvPr>
        </p:nvGraphicFramePr>
        <p:xfrm>
          <a:off x="6407150" y="1119188"/>
          <a:ext cx="5783263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6" name="Hoja de cálculo" r:id="rId11" imgW="4432300" imgH="215900" progId="Excel.Sheet.12">
                  <p:embed/>
                </p:oleObj>
              </mc:Choice>
              <mc:Fallback>
                <p:oleObj name="Hoja de cálculo" r:id="rId11" imgW="4432300" imgH="215900" progId="Excel.Sheet.12">
                  <p:embed/>
                  <p:pic>
                    <p:nvPicPr>
                      <p:cNvPr id="37" name="Object 36">
                        <a:extLst>
                          <a:ext uri="{FF2B5EF4-FFF2-40B4-BE49-F238E27FC236}">
                            <a16:creationId xmlns:a16="http://schemas.microsoft.com/office/drawing/2014/main" id="{E3329616-4A16-4E9F-BC32-F9AE170E7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6407150" y="1119188"/>
                        <a:ext cx="5783263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1">
            <a:extLst>
              <a:ext uri="{FF2B5EF4-FFF2-40B4-BE49-F238E27FC236}">
                <a16:creationId xmlns:a16="http://schemas.microsoft.com/office/drawing/2014/main" id="{55443EAC-93D8-4F92-BFE3-F3628EEB10E7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25-45</a:t>
            </a:r>
          </a:p>
          <a:p>
            <a:pPr>
              <a:lnSpc>
                <a:spcPct val="110000"/>
              </a:lnSpc>
            </a:pPr>
            <a:r>
              <a:rPr lang="de-CH" sz="2000" dirty="0" err="1">
                <a:latin typeface="Abadi" panose="020B0604020104020204" pitchFamily="34" charset="0"/>
              </a:rPr>
              <a:t>Abril</a:t>
            </a:r>
            <a:r>
              <a:rPr lang="de-CH" sz="2000" dirty="0">
                <a:latin typeface="Abadi" panose="020B0604020104020204" pitchFamily="34" charset="0"/>
              </a:rPr>
              <a:t> 2024 </a:t>
            </a:r>
          </a:p>
        </p:txBody>
      </p:sp>
      <p:pic>
        <p:nvPicPr>
          <p:cNvPr id="45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8CE7A3EC-D360-4CEC-8CF0-14ED42C099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59436C7B-7335-495D-AC94-9D0DC397E2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a 3">
            <a:extLst>
              <a:ext uri="{FF2B5EF4-FFF2-40B4-BE49-F238E27FC236}">
                <a16:creationId xmlns:a16="http://schemas.microsoft.com/office/drawing/2014/main" id="{449A8407-ECBA-1742-BA26-66D819954C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9248418"/>
              </p:ext>
            </p:extLst>
          </p:nvPr>
        </p:nvGraphicFramePr>
        <p:xfrm>
          <a:off x="515043" y="789819"/>
          <a:ext cx="632459" cy="218837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32459">
                  <a:extLst>
                    <a:ext uri="{9D8B030D-6E8A-4147-A177-3AD203B41FA5}">
                      <a16:colId xmlns:a16="http://schemas.microsoft.com/office/drawing/2014/main" val="1185865620"/>
                    </a:ext>
                  </a:extLst>
                </a:gridCol>
              </a:tblGrid>
              <a:tr h="335482">
                <a:tc>
                  <a:txBody>
                    <a:bodyPr/>
                    <a:lstStyle/>
                    <a:p>
                      <a:pPr algn="ctr"/>
                      <a:r>
                        <a:rPr lang="es-HN" sz="1200" dirty="0">
                          <a:latin typeface="Abadi MT Condensed Light" panose="020B0306030101010103" pitchFamily="34" charset="77"/>
                        </a:rPr>
                        <a:t>SO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884866"/>
                  </a:ext>
                </a:extLst>
              </a:tr>
              <a:tr h="370578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7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9576745"/>
                  </a:ext>
                </a:extLst>
              </a:tr>
              <a:tr h="370578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1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20567210"/>
                  </a:ext>
                </a:extLst>
              </a:tr>
              <a:tr h="370578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1485070"/>
                  </a:ext>
                </a:extLst>
              </a:tr>
              <a:tr h="370578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25115450"/>
                  </a:ext>
                </a:extLst>
              </a:tr>
              <a:tr h="370578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597378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1950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26">
            <a:extLst>
              <a:ext uri="{FF2B5EF4-FFF2-40B4-BE49-F238E27FC236}">
                <a16:creationId xmlns:a16="http://schemas.microsoft.com/office/drawing/2014/main" id="{67BEC9DA-EBC2-724A-9792-EC4FAF82BD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12463463"/>
              </p:ext>
            </p:extLst>
          </p:nvPr>
        </p:nvGraphicFramePr>
        <p:xfrm>
          <a:off x="4269218" y="680258"/>
          <a:ext cx="4343334" cy="2810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8DA2D12-8206-4D3D-9493-AF5446A62F01}"/>
              </a:ext>
            </a:extLst>
          </p:cNvPr>
          <p:cNvSpPr/>
          <p:nvPr/>
        </p:nvSpPr>
        <p:spPr>
          <a:xfrm>
            <a:off x="461730" y="829674"/>
            <a:ext cx="2729738" cy="17253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aphicFrame>
        <p:nvGraphicFramePr>
          <p:cNvPr id="36" name="Chart 26">
            <a:extLst>
              <a:ext uri="{FF2B5EF4-FFF2-40B4-BE49-F238E27FC236}">
                <a16:creationId xmlns:a16="http://schemas.microsoft.com/office/drawing/2014/main" id="{416E917E-5749-0A45-BCBE-AFD292CB36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95178914"/>
              </p:ext>
            </p:extLst>
          </p:nvPr>
        </p:nvGraphicFramePr>
        <p:xfrm>
          <a:off x="79906" y="741481"/>
          <a:ext cx="3424622" cy="2810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8374521-8765-48E6-BD6E-29F7A80E3004}"/>
              </a:ext>
            </a:extLst>
          </p:cNvPr>
          <p:cNvSpPr/>
          <p:nvPr/>
        </p:nvSpPr>
        <p:spPr>
          <a:xfrm>
            <a:off x="9585751" y="816644"/>
            <a:ext cx="176975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6F8AB4D-EADF-4793-B39F-087293A0A55C}"/>
              </a:ext>
            </a:extLst>
          </p:cNvPr>
          <p:cNvSpPr/>
          <p:nvPr/>
        </p:nvSpPr>
        <p:spPr>
          <a:xfrm>
            <a:off x="6105939" y="3714742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A51F7E7F-3005-452B-A37E-6345C488012C}"/>
              </a:ext>
            </a:extLst>
          </p:cNvPr>
          <p:cNvSpPr/>
          <p:nvPr/>
        </p:nvSpPr>
        <p:spPr>
          <a:xfrm>
            <a:off x="1463022" y="3714440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55" y="-8437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ÁCIDO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CE1A38D-B15D-44B8-8B16-ADBCF0FB153A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18-45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 2024 </a:t>
            </a:r>
          </a:p>
        </p:txBody>
      </p:sp>
      <p:pic>
        <p:nvPicPr>
          <p:cNvPr id="1026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FEEED1DF-8648-4950-89EB-7A9954C08F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27533FF8-4632-48D4-ADB0-357699504C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4321365" y="687166"/>
            <a:ext cx="0" cy="292367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3608125"/>
            <a:ext cx="1237037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6592C3A-4914-420B-9823-54E1CEF44AEF}"/>
              </a:ext>
            </a:extLst>
          </p:cNvPr>
          <p:cNvSpPr/>
          <p:nvPr/>
        </p:nvSpPr>
        <p:spPr>
          <a:xfrm>
            <a:off x="5817753" y="826636"/>
            <a:ext cx="146260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latin typeface="Abadi MT Condensed Extra Bold" panose="020B0306030101010103" pitchFamily="34" charset="77"/>
              </a:rPr>
              <a:t>TV CATEGOR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483B254-E4F6-40A3-9B23-E4A24DF0AC0D}"/>
              </a:ext>
            </a:extLst>
          </p:cNvPr>
          <p:cNvSpPr txBox="1"/>
          <p:nvPr/>
        </p:nvSpPr>
        <p:spPr>
          <a:xfrm>
            <a:off x="817038" y="3663238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NEW CREATIV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D43246-8B24-4048-847D-87FACD838830}"/>
              </a:ext>
            </a:extLst>
          </p:cNvPr>
          <p:cNvSpPr txBox="1"/>
          <p:nvPr/>
        </p:nvSpPr>
        <p:spPr>
          <a:xfrm>
            <a:off x="5441913" y="3663237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OP CREATIVES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61D8F93-DC41-4187-9DDC-CAF216947808}"/>
              </a:ext>
            </a:extLst>
          </p:cNvPr>
          <p:cNvCxnSpPr>
            <a:cxnSpLocks/>
          </p:cNvCxnSpPr>
          <p:nvPr/>
        </p:nvCxnSpPr>
        <p:spPr>
          <a:xfrm>
            <a:off x="4553687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7B3C51B-B8A4-4BA3-B6F8-D38845A5B52C}"/>
              </a:ext>
            </a:extLst>
          </p:cNvPr>
          <p:cNvCxnSpPr>
            <a:cxnSpLocks/>
          </p:cNvCxnSpPr>
          <p:nvPr/>
        </p:nvCxnSpPr>
        <p:spPr>
          <a:xfrm>
            <a:off x="9315795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125F62A-9C20-4B7B-9329-07AF495224FD}"/>
              </a:ext>
            </a:extLst>
          </p:cNvPr>
          <p:cNvSpPr txBox="1"/>
          <p:nvPr/>
        </p:nvSpPr>
        <p:spPr>
          <a:xfrm>
            <a:off x="9360100" y="3634864"/>
            <a:ext cx="273775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>
                <a:latin typeface="Abadi" panose="020B0604020104020204" pitchFamily="34" charset="0"/>
              </a:rPr>
              <a:t>Aprendizajes: </a:t>
            </a:r>
            <a:br>
              <a:rPr lang="es-HN" sz="1200" dirty="0"/>
            </a:br>
            <a:r>
              <a:rPr lang="es-HN" sz="1200" b="0" i="0" dirty="0">
                <a:solidFill>
                  <a:srgbClr val="0D0D0D"/>
                </a:solidFill>
                <a:effectLst/>
                <a:latin typeface="Söhne"/>
              </a:rPr>
              <a:t>El pico mas alto  de la categoría ocurre en marzo, justo antes de Semana Santa. Durante este período, Pepto Bismol y Alka Extreme son activados, mientras que el ruido en torno a Alka Seltzer clásica aumenta.</a:t>
            </a:r>
          </a:p>
          <a:p>
            <a:r>
              <a:rPr lang="es-HN" sz="1200" dirty="0">
                <a:solidFill>
                  <a:srgbClr val="0D0D0D"/>
                </a:solidFill>
                <a:latin typeface="Söhne"/>
              </a:rPr>
              <a:t>Sal Andrews se mantiene con exteriores, a partir del mes de marzo, con apoyo al lanzamiento “sabor a naranja”</a:t>
            </a:r>
            <a:endParaRPr lang="es-HN" sz="1200" b="0" i="0" dirty="0">
              <a:solidFill>
                <a:srgbClr val="0D0D0D"/>
              </a:solidFill>
              <a:effectLst/>
              <a:latin typeface="Söhne"/>
            </a:endParaRPr>
          </a:p>
          <a:p>
            <a:r>
              <a:rPr lang="es-HN" sz="1200" dirty="0">
                <a:solidFill>
                  <a:srgbClr val="0D0D0D"/>
                </a:solidFill>
                <a:latin typeface="Söhne"/>
              </a:rPr>
              <a:t>Se mantienen los mismos creativos de la competencia.</a:t>
            </a:r>
            <a:endParaRPr lang="es-HN" sz="1200" b="0" i="0" dirty="0">
              <a:solidFill>
                <a:srgbClr val="0D0D0D"/>
              </a:solidFill>
              <a:effectLst/>
              <a:latin typeface="Söhne"/>
            </a:endParaRPr>
          </a:p>
          <a:p>
            <a:endParaRPr lang="es-MX" sz="1200" dirty="0">
              <a:latin typeface="Abadi" panose="020B0604020104020204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1AB5A22-D25F-4A53-8305-C43193081AA7}"/>
              </a:ext>
            </a:extLst>
          </p:cNvPr>
          <p:cNvCxnSpPr>
            <a:cxnSpLocks/>
          </p:cNvCxnSpPr>
          <p:nvPr/>
        </p:nvCxnSpPr>
        <p:spPr>
          <a:xfrm>
            <a:off x="8719463" y="-194425"/>
            <a:ext cx="0" cy="3809329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65" name="Chart 64">
            <a:extLst>
              <a:ext uri="{FF2B5EF4-FFF2-40B4-BE49-F238E27FC236}">
                <a16:creationId xmlns:a16="http://schemas.microsoft.com/office/drawing/2014/main" id="{F99528B7-E46E-4001-AE6D-7F23D6E800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4661514"/>
              </p:ext>
            </p:extLst>
          </p:nvPr>
        </p:nvGraphicFramePr>
        <p:xfrm>
          <a:off x="8838592" y="766416"/>
          <a:ext cx="3450769" cy="2790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7" name="Tabla 10">
            <a:extLst>
              <a:ext uri="{FF2B5EF4-FFF2-40B4-BE49-F238E27FC236}">
                <a16:creationId xmlns:a16="http://schemas.microsoft.com/office/drawing/2014/main" id="{2226B105-37B7-D04A-8D44-C8B84C558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7943105"/>
              </p:ext>
            </p:extLst>
          </p:nvPr>
        </p:nvGraphicFramePr>
        <p:xfrm>
          <a:off x="3381060" y="855317"/>
          <a:ext cx="939512" cy="2157313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469756">
                  <a:extLst>
                    <a:ext uri="{9D8B030D-6E8A-4147-A177-3AD203B41FA5}">
                      <a16:colId xmlns:a16="http://schemas.microsoft.com/office/drawing/2014/main" val="3008694403"/>
                    </a:ext>
                  </a:extLst>
                </a:gridCol>
                <a:gridCol w="469756">
                  <a:extLst>
                    <a:ext uri="{9D8B030D-6E8A-4147-A177-3AD203B41FA5}">
                      <a16:colId xmlns:a16="http://schemas.microsoft.com/office/drawing/2014/main" val="2769427833"/>
                    </a:ext>
                  </a:extLst>
                </a:gridCol>
              </a:tblGrid>
              <a:tr h="316216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Grp’s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SOV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843301"/>
                  </a:ext>
                </a:extLst>
              </a:tr>
              <a:tr h="613699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3,51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7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4059227"/>
                  </a:ext>
                </a:extLst>
              </a:tr>
              <a:tr h="613699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77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1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41950397"/>
                  </a:ext>
                </a:extLst>
              </a:tr>
              <a:tr h="613699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60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1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7311529"/>
                  </a:ext>
                </a:extLst>
              </a:tr>
            </a:tbl>
          </a:graphicData>
        </a:graphic>
      </p:graphicFrame>
      <p:graphicFrame>
        <p:nvGraphicFramePr>
          <p:cNvPr id="28" name="Tabla 12">
            <a:extLst>
              <a:ext uri="{FF2B5EF4-FFF2-40B4-BE49-F238E27FC236}">
                <a16:creationId xmlns:a16="http://schemas.microsoft.com/office/drawing/2014/main" id="{A15A3829-E116-ED4F-A23C-9FF9718A88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5917560"/>
              </p:ext>
            </p:extLst>
          </p:nvPr>
        </p:nvGraphicFramePr>
        <p:xfrm>
          <a:off x="760156" y="3268254"/>
          <a:ext cx="172223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0558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430558">
                  <a:extLst>
                    <a:ext uri="{9D8B030D-6E8A-4147-A177-3AD203B41FA5}">
                      <a16:colId xmlns:a16="http://schemas.microsoft.com/office/drawing/2014/main" val="804050487"/>
                    </a:ext>
                  </a:extLst>
                </a:gridCol>
                <a:gridCol w="430558">
                  <a:extLst>
                    <a:ext uri="{9D8B030D-6E8A-4147-A177-3AD203B41FA5}">
                      <a16:colId xmlns:a16="http://schemas.microsoft.com/office/drawing/2014/main" val="1491367527"/>
                    </a:ext>
                  </a:extLst>
                </a:gridCol>
                <a:gridCol w="430558">
                  <a:extLst>
                    <a:ext uri="{9D8B030D-6E8A-4147-A177-3AD203B41FA5}">
                      <a16:colId xmlns:a16="http://schemas.microsoft.com/office/drawing/2014/main" val="2855522495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84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7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4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5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30" name="Tabla 12">
            <a:extLst>
              <a:ext uri="{FF2B5EF4-FFF2-40B4-BE49-F238E27FC236}">
                <a16:creationId xmlns:a16="http://schemas.microsoft.com/office/drawing/2014/main" id="{1178BE10-8AD9-A24F-BAF7-6E46C00C03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1835766"/>
              </p:ext>
            </p:extLst>
          </p:nvPr>
        </p:nvGraphicFramePr>
        <p:xfrm>
          <a:off x="4823207" y="3248615"/>
          <a:ext cx="3789345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7869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757869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757869">
                  <a:extLst>
                    <a:ext uri="{9D8B030D-6E8A-4147-A177-3AD203B41FA5}">
                      <a16:colId xmlns:a16="http://schemas.microsoft.com/office/drawing/2014/main" val="2289583996"/>
                    </a:ext>
                  </a:extLst>
                </a:gridCol>
                <a:gridCol w="757869">
                  <a:extLst>
                    <a:ext uri="{9D8B030D-6E8A-4147-A177-3AD203B41FA5}">
                      <a16:colId xmlns:a16="http://schemas.microsoft.com/office/drawing/2014/main" val="740861626"/>
                    </a:ext>
                  </a:extLst>
                </a:gridCol>
                <a:gridCol w="757869">
                  <a:extLst>
                    <a:ext uri="{9D8B030D-6E8A-4147-A177-3AD203B41FA5}">
                      <a16:colId xmlns:a16="http://schemas.microsoft.com/office/drawing/2014/main" val="1082390930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29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4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35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31" name="Tabla 12">
            <a:extLst>
              <a:ext uri="{FF2B5EF4-FFF2-40B4-BE49-F238E27FC236}">
                <a16:creationId xmlns:a16="http://schemas.microsoft.com/office/drawing/2014/main" id="{8BFCDFA9-34C9-0747-ACD3-317D5E8AA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8562366"/>
              </p:ext>
            </p:extLst>
          </p:nvPr>
        </p:nvGraphicFramePr>
        <p:xfrm>
          <a:off x="9315795" y="3268254"/>
          <a:ext cx="2361990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3665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393665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393665">
                  <a:extLst>
                    <a:ext uri="{9D8B030D-6E8A-4147-A177-3AD203B41FA5}">
                      <a16:colId xmlns:a16="http://schemas.microsoft.com/office/drawing/2014/main" val="2557986605"/>
                    </a:ext>
                  </a:extLst>
                </a:gridCol>
                <a:gridCol w="393665">
                  <a:extLst>
                    <a:ext uri="{9D8B030D-6E8A-4147-A177-3AD203B41FA5}">
                      <a16:colId xmlns:a16="http://schemas.microsoft.com/office/drawing/2014/main" val="2289583996"/>
                    </a:ext>
                  </a:extLst>
                </a:gridCol>
                <a:gridCol w="393665">
                  <a:extLst>
                    <a:ext uri="{9D8B030D-6E8A-4147-A177-3AD203B41FA5}">
                      <a16:colId xmlns:a16="http://schemas.microsoft.com/office/drawing/2014/main" val="740861626"/>
                    </a:ext>
                  </a:extLst>
                </a:gridCol>
                <a:gridCol w="393665">
                  <a:extLst>
                    <a:ext uri="{9D8B030D-6E8A-4147-A177-3AD203B41FA5}">
                      <a16:colId xmlns:a16="http://schemas.microsoft.com/office/drawing/2014/main" val="2106329332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22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5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3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7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1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pic>
        <p:nvPicPr>
          <p:cNvPr id="3" name="50401124071120000-2566-2578.mp4" descr="50401124071120000-2566-2578.mp4">
            <a:hlinkClick r:id="" action="ppaction://media"/>
            <a:extLst>
              <a:ext uri="{FF2B5EF4-FFF2-40B4-BE49-F238E27FC236}">
                <a16:creationId xmlns:a16="http://schemas.microsoft.com/office/drawing/2014/main" id="{CDCAF6A6-D3A1-D34F-BB7C-8FDC9895201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4695256" y="3995686"/>
            <a:ext cx="1906654" cy="1074171"/>
          </a:xfrm>
          <a:prstGeom prst="rect">
            <a:avLst/>
          </a:prstGeom>
        </p:spPr>
      </p:pic>
      <p:sp>
        <p:nvSpPr>
          <p:cNvPr id="6" name="CuadroTexto 5">
            <a:extLst>
              <a:ext uri="{FF2B5EF4-FFF2-40B4-BE49-F238E27FC236}">
                <a16:creationId xmlns:a16="http://schemas.microsoft.com/office/drawing/2014/main" id="{D89AE64A-7AD3-574B-97B0-4EDC64D27A72}"/>
              </a:ext>
            </a:extLst>
          </p:cNvPr>
          <p:cNvSpPr txBox="1"/>
          <p:nvPr/>
        </p:nvSpPr>
        <p:spPr>
          <a:xfrm>
            <a:off x="6601910" y="4144667"/>
            <a:ext cx="24599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HN" sz="1000" b="1" dirty="0"/>
              <a:t>Pepto Bismol </a:t>
            </a:r>
            <a:r>
              <a:rPr lang="es-HN" sz="1000" dirty="0"/>
              <a:t>:    “Si tu dia pinta mal, pintalo de rosa”</a:t>
            </a:r>
          </a:p>
        </p:txBody>
      </p:sp>
      <p:pic>
        <p:nvPicPr>
          <p:cNvPr id="15362" name="Picture 2">
            <a:extLst>
              <a:ext uri="{FF2B5EF4-FFF2-40B4-BE49-F238E27FC236}">
                <a16:creationId xmlns:a16="http://schemas.microsoft.com/office/drawing/2014/main" id="{BB889DBA-B59A-A140-A7EF-F1D23D33E0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2737" y="5372840"/>
            <a:ext cx="2350031" cy="1057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4" name="Picture 4">
            <a:extLst>
              <a:ext uri="{FF2B5EF4-FFF2-40B4-BE49-F238E27FC236}">
                <a16:creationId xmlns:a16="http://schemas.microsoft.com/office/drawing/2014/main" id="{F78F2566-FBE3-F94A-B8A6-CFC98A2378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73020" y="5374257"/>
            <a:ext cx="2070360" cy="1056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CuadroTexto 34">
            <a:extLst>
              <a:ext uri="{FF2B5EF4-FFF2-40B4-BE49-F238E27FC236}">
                <a16:creationId xmlns:a16="http://schemas.microsoft.com/office/drawing/2014/main" id="{5EBAFC8D-66E7-5A4A-9D65-00E58483FF51}"/>
              </a:ext>
            </a:extLst>
          </p:cNvPr>
          <p:cNvSpPr txBox="1"/>
          <p:nvPr/>
        </p:nvSpPr>
        <p:spPr>
          <a:xfrm>
            <a:off x="5963546" y="6430352"/>
            <a:ext cx="24599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HN" sz="1000" b="1" dirty="0"/>
              <a:t>Sal Andrews </a:t>
            </a:r>
            <a:r>
              <a:rPr lang="es-HN" sz="1000" dirty="0"/>
              <a:t>:    “Nuevo sabor a naranja”</a:t>
            </a:r>
          </a:p>
        </p:txBody>
      </p:sp>
    </p:spTree>
    <p:extLst>
      <p:ext uri="{BB962C8B-B14F-4D97-AF65-F5344CB8AC3E}">
        <p14:creationId xmlns:p14="http://schemas.microsoft.com/office/powerpoint/2010/main" val="189919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  <p:extLst>
    <p:ext uri="{6950BFC3-D8DA-4A85-94F7-54DA5524770B}">
      <p188:commentRel xmlns:p188="http://schemas.microsoft.com/office/powerpoint/2018/8/main" r:id="rId5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408" y="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ÁCIDO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CE2A666-5A11-4E16-A61A-50F8F6DB60B1}"/>
              </a:ext>
            </a:extLst>
          </p:cNvPr>
          <p:cNvSpPr/>
          <p:nvPr/>
        </p:nvSpPr>
        <p:spPr>
          <a:xfrm>
            <a:off x="5333214" y="607962"/>
            <a:ext cx="1608866" cy="22590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5068628-66AB-4882-89F7-38BC30276AAB}"/>
              </a:ext>
            </a:extLst>
          </p:cNvPr>
          <p:cNvSpPr txBox="1"/>
          <p:nvPr/>
        </p:nvSpPr>
        <p:spPr>
          <a:xfrm>
            <a:off x="4647337" y="563303"/>
            <a:ext cx="29816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600" dirty="0"/>
              <a:t>TÁCTICAS BAYER</a:t>
            </a:r>
          </a:p>
        </p:txBody>
      </p:sp>
      <p:sp>
        <p:nvSpPr>
          <p:cNvPr id="63" name="Title 1">
            <a:extLst>
              <a:ext uri="{FF2B5EF4-FFF2-40B4-BE49-F238E27FC236}">
                <a16:creationId xmlns:a16="http://schemas.microsoft.com/office/drawing/2014/main" id="{37C733DC-BC95-4E93-B24E-E6E3244025DC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18-45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, 2024 </a:t>
            </a:r>
          </a:p>
        </p:txBody>
      </p:sp>
      <p:pic>
        <p:nvPicPr>
          <p:cNvPr id="64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A1513007-9818-4183-B323-4A8938FEA9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0AFB4ED1-6F9C-451F-B2AE-2511A55397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10">
            <a:extLst>
              <a:ext uri="{FF2B5EF4-FFF2-40B4-BE49-F238E27FC236}">
                <a16:creationId xmlns:a16="http://schemas.microsoft.com/office/drawing/2014/main" id="{78591E11-24F8-4B46-B4C6-B424FD3BF05D}"/>
              </a:ext>
            </a:extLst>
          </p:cNvPr>
          <p:cNvSpPr txBox="1"/>
          <p:nvPr/>
        </p:nvSpPr>
        <p:spPr>
          <a:xfrm>
            <a:off x="2672387" y="954214"/>
            <a:ext cx="1026243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R" sz="1300" b="1" dirty="0" err="1">
                <a:latin typeface="Abadi" panose="020B0604020104020204" pitchFamily="34" charset="0"/>
                <a:ea typeface="Merriweather"/>
                <a:cs typeface="Merriweather"/>
              </a:rPr>
              <a:t>Alka</a:t>
            </a:r>
            <a:r>
              <a:rPr lang="es-CR" sz="1300" b="1" dirty="0">
                <a:latin typeface="Abadi" panose="020B0604020104020204" pitchFamily="34" charset="0"/>
                <a:ea typeface="Merriweather"/>
                <a:cs typeface="Merriweather"/>
              </a:rPr>
              <a:t> </a:t>
            </a:r>
            <a:r>
              <a:rPr lang="es-CR" sz="1300" b="1" dirty="0" err="1">
                <a:latin typeface="Abadi" panose="020B0604020104020204" pitchFamily="34" charset="0"/>
                <a:ea typeface="Merriweather"/>
                <a:cs typeface="Merriweather"/>
              </a:rPr>
              <a:t>Seltzer</a:t>
            </a:r>
            <a:endParaRPr lang="es-CR" sz="1300" b="1" dirty="0">
              <a:latin typeface="Abadi" panose="020B0604020104020204" pitchFamily="34" charset="0"/>
              <a:ea typeface="Merriweather"/>
              <a:cs typeface="Merriweather"/>
            </a:endParaRPr>
          </a:p>
        </p:txBody>
      </p:sp>
      <p:sp>
        <p:nvSpPr>
          <p:cNvPr id="67" name="Marcador de contenido 2">
            <a:extLst>
              <a:ext uri="{FF2B5EF4-FFF2-40B4-BE49-F238E27FC236}">
                <a16:creationId xmlns:a16="http://schemas.microsoft.com/office/drawing/2014/main" id="{6C9FAEB1-3810-478C-840A-9D62FEDFB20D}"/>
              </a:ext>
            </a:extLst>
          </p:cNvPr>
          <p:cNvSpPr txBox="1">
            <a:spLocks/>
          </p:cNvSpPr>
          <p:nvPr/>
        </p:nvSpPr>
        <p:spPr>
          <a:xfrm>
            <a:off x="1960075" y="3042087"/>
            <a:ext cx="2507957" cy="1026320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Patrocinio gol, y casi gol de paquete deportivo de Emisoras Unidas</a:t>
            </a:r>
          </a:p>
        </p:txBody>
      </p:sp>
      <p:sp>
        <p:nvSpPr>
          <p:cNvPr id="68" name="Marcador de contenido 2">
            <a:extLst>
              <a:ext uri="{FF2B5EF4-FFF2-40B4-BE49-F238E27FC236}">
                <a16:creationId xmlns:a16="http://schemas.microsoft.com/office/drawing/2014/main" id="{AEF0D607-8ECC-4362-A3C0-B6CB48E9469F}"/>
              </a:ext>
            </a:extLst>
          </p:cNvPr>
          <p:cNvSpPr txBox="1">
            <a:spLocks/>
          </p:cNvSpPr>
          <p:nvPr/>
        </p:nvSpPr>
        <p:spPr>
          <a:xfrm>
            <a:off x="1960072" y="4281635"/>
            <a:ext cx="2507957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2060"/>
              </a:buClr>
              <a:buNone/>
            </a:pPr>
            <a:r>
              <a:rPr lang="es-CR" sz="11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CR" sz="1100" dirty="0">
                <a:latin typeface="Abadi" panose="020B0604020104020204" pitchFamily="34" charset="0"/>
              </a:rPr>
              <a:t>Sin actividad</a:t>
            </a:r>
          </a:p>
        </p:txBody>
      </p:sp>
      <p:sp>
        <p:nvSpPr>
          <p:cNvPr id="69" name="Marcador de contenido 2">
            <a:extLst>
              <a:ext uri="{FF2B5EF4-FFF2-40B4-BE49-F238E27FC236}">
                <a16:creationId xmlns:a16="http://schemas.microsoft.com/office/drawing/2014/main" id="{2DB402FF-6B37-478C-BCFE-5804060C52EA}"/>
              </a:ext>
            </a:extLst>
          </p:cNvPr>
          <p:cNvSpPr txBox="1">
            <a:spLocks/>
          </p:cNvSpPr>
          <p:nvPr/>
        </p:nvSpPr>
        <p:spPr>
          <a:xfrm>
            <a:off x="4814807" y="4281635"/>
            <a:ext cx="2507961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  <a:p>
            <a:pPr marL="0" indent="0">
              <a:buNone/>
            </a:pPr>
            <a:endParaRPr lang="es-MX" sz="1200" dirty="0">
              <a:latin typeface="Abadi" panose="020B0604020104020204" pitchFamily="34" charset="0"/>
            </a:endParaRPr>
          </a:p>
        </p:txBody>
      </p:sp>
      <p:pic>
        <p:nvPicPr>
          <p:cNvPr id="70" name="Imagen 11">
            <a:extLst>
              <a:ext uri="{FF2B5EF4-FFF2-40B4-BE49-F238E27FC236}">
                <a16:creationId xmlns:a16="http://schemas.microsoft.com/office/drawing/2014/main" id="{451B553E-ED32-4F1D-A6FF-03C216BBB12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95" y="1747895"/>
            <a:ext cx="672955" cy="672955"/>
          </a:xfrm>
          <a:prstGeom prst="rect">
            <a:avLst/>
          </a:prstGeom>
        </p:spPr>
      </p:pic>
      <p:pic>
        <p:nvPicPr>
          <p:cNvPr id="71" name="Imagen 14">
            <a:extLst>
              <a:ext uri="{FF2B5EF4-FFF2-40B4-BE49-F238E27FC236}">
                <a16:creationId xmlns:a16="http://schemas.microsoft.com/office/drawing/2014/main" id="{2C069AEB-59AA-4C87-9A84-BA749CF3608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8" y="4731461"/>
            <a:ext cx="594850" cy="594850"/>
          </a:xfrm>
          <a:prstGeom prst="rect">
            <a:avLst/>
          </a:prstGeom>
        </p:spPr>
      </p:pic>
      <p:pic>
        <p:nvPicPr>
          <p:cNvPr id="72" name="Imagen 15">
            <a:extLst>
              <a:ext uri="{FF2B5EF4-FFF2-40B4-BE49-F238E27FC236}">
                <a16:creationId xmlns:a16="http://schemas.microsoft.com/office/drawing/2014/main" id="{DFAE6BED-7440-400D-BA2C-D6B241ACC46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95" y="3228641"/>
            <a:ext cx="653212" cy="653212"/>
          </a:xfrm>
          <a:prstGeom prst="rect">
            <a:avLst/>
          </a:prstGeom>
        </p:spPr>
      </p:pic>
      <p:sp>
        <p:nvSpPr>
          <p:cNvPr id="73" name="Marcador de contenido 2">
            <a:extLst>
              <a:ext uri="{FF2B5EF4-FFF2-40B4-BE49-F238E27FC236}">
                <a16:creationId xmlns:a16="http://schemas.microsoft.com/office/drawing/2014/main" id="{0FE48130-2DCC-4967-9041-99028F194917}"/>
              </a:ext>
            </a:extLst>
          </p:cNvPr>
          <p:cNvSpPr txBox="1">
            <a:spLocks/>
          </p:cNvSpPr>
          <p:nvPr/>
        </p:nvSpPr>
        <p:spPr>
          <a:xfrm>
            <a:off x="7714864" y="3042087"/>
            <a:ext cx="2516272" cy="1071946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</p:txBody>
      </p:sp>
      <p:sp>
        <p:nvSpPr>
          <p:cNvPr id="74" name="Marcador de contenido 2">
            <a:extLst>
              <a:ext uri="{FF2B5EF4-FFF2-40B4-BE49-F238E27FC236}">
                <a16:creationId xmlns:a16="http://schemas.microsoft.com/office/drawing/2014/main" id="{E014B9DE-E3C2-44BF-9EC0-757CACC94D4F}"/>
              </a:ext>
            </a:extLst>
          </p:cNvPr>
          <p:cNvSpPr txBox="1">
            <a:spLocks/>
          </p:cNvSpPr>
          <p:nvPr/>
        </p:nvSpPr>
        <p:spPr>
          <a:xfrm>
            <a:off x="4804948" y="3042087"/>
            <a:ext cx="2507168" cy="1071946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Patrocinio radial en programas juveniles (2 emisoras nacionales) </a:t>
            </a:r>
          </a:p>
        </p:txBody>
      </p:sp>
      <p:sp>
        <p:nvSpPr>
          <p:cNvPr id="75" name="Marcador de contenido 2">
            <a:extLst>
              <a:ext uri="{FF2B5EF4-FFF2-40B4-BE49-F238E27FC236}">
                <a16:creationId xmlns:a16="http://schemas.microsoft.com/office/drawing/2014/main" id="{29EBDD38-CE8F-4582-BCCB-E65D51FEF352}"/>
              </a:ext>
            </a:extLst>
          </p:cNvPr>
          <p:cNvSpPr txBox="1">
            <a:spLocks/>
          </p:cNvSpPr>
          <p:nvPr/>
        </p:nvSpPr>
        <p:spPr>
          <a:xfrm>
            <a:off x="7714860" y="4281635"/>
            <a:ext cx="2507961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. </a:t>
            </a:r>
          </a:p>
        </p:txBody>
      </p:sp>
      <p:sp>
        <p:nvSpPr>
          <p:cNvPr id="76" name="Marcador de contenido 2">
            <a:extLst>
              <a:ext uri="{FF2B5EF4-FFF2-40B4-BE49-F238E27FC236}">
                <a16:creationId xmlns:a16="http://schemas.microsoft.com/office/drawing/2014/main" id="{D5959A5B-6FD9-44E2-AD34-59EABB03BAD5}"/>
              </a:ext>
            </a:extLst>
          </p:cNvPr>
          <p:cNvSpPr txBox="1">
            <a:spLocks/>
          </p:cNvSpPr>
          <p:nvPr/>
        </p:nvSpPr>
        <p:spPr>
          <a:xfrm>
            <a:off x="4807516" y="1345124"/>
            <a:ext cx="2507168" cy="1471315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Programa Los del Cuarto</a:t>
            </a:r>
          </a:p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Alcances :  Msj 7, Trp’s 58 ,     COE : 2.57</a:t>
            </a:r>
          </a:p>
          <a:p>
            <a:pPr marL="0" indent="0">
              <a:buNone/>
            </a:pPr>
            <a:endParaRPr lang="es-MX" sz="1200" b="1" dirty="0">
              <a:latin typeface="Abadi" panose="020B0604020104020204" pitchFamily="34" charset="0"/>
            </a:endParaRPr>
          </a:p>
          <a:p>
            <a:pPr marL="0" indent="0">
              <a:buNone/>
            </a:pPr>
            <a:endParaRPr lang="es-MX" sz="1200" b="1" dirty="0">
              <a:latin typeface="Abadi" panose="020B0604020104020204" pitchFamily="34" charset="0"/>
            </a:endParaRPr>
          </a:p>
        </p:txBody>
      </p:sp>
      <p:sp>
        <p:nvSpPr>
          <p:cNvPr id="77" name="TextBox 10">
            <a:extLst>
              <a:ext uri="{FF2B5EF4-FFF2-40B4-BE49-F238E27FC236}">
                <a16:creationId xmlns:a16="http://schemas.microsoft.com/office/drawing/2014/main" id="{274F8F66-4E69-4285-89DD-569C46754823}"/>
              </a:ext>
            </a:extLst>
          </p:cNvPr>
          <p:cNvSpPr txBox="1"/>
          <p:nvPr/>
        </p:nvSpPr>
        <p:spPr>
          <a:xfrm>
            <a:off x="5230229" y="954214"/>
            <a:ext cx="17356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R" sz="1400" b="1" dirty="0" err="1">
                <a:latin typeface="Abadi" panose="020B0604020104020204" pitchFamily="34" charset="0"/>
                <a:ea typeface="Merriweather"/>
                <a:cs typeface="Merriweather"/>
              </a:rPr>
              <a:t>Alka</a:t>
            </a:r>
            <a:r>
              <a:rPr lang="es-CR" sz="1400" b="1" dirty="0">
                <a:latin typeface="Abadi" panose="020B0604020104020204" pitchFamily="34" charset="0"/>
                <a:ea typeface="Merriweather"/>
                <a:cs typeface="Merriweather"/>
              </a:rPr>
              <a:t> Extreme </a:t>
            </a:r>
            <a:r>
              <a:rPr lang="es-CR" sz="1400" b="1" dirty="0" err="1">
                <a:latin typeface="Abadi" panose="020B0604020104020204" pitchFamily="34" charset="0"/>
                <a:ea typeface="Merriweather"/>
                <a:cs typeface="Merriweather"/>
              </a:rPr>
              <a:t>Boost</a:t>
            </a:r>
            <a:r>
              <a:rPr lang="es-CR" sz="1400" b="1" dirty="0">
                <a:latin typeface="Abadi" panose="020B0604020104020204" pitchFamily="34" charset="0"/>
                <a:ea typeface="Merriweather"/>
                <a:cs typeface="Merriweather"/>
              </a:rPr>
              <a:t> </a:t>
            </a:r>
          </a:p>
        </p:txBody>
      </p:sp>
      <p:sp>
        <p:nvSpPr>
          <p:cNvPr id="78" name="Marcador de contenido 2">
            <a:extLst>
              <a:ext uri="{FF2B5EF4-FFF2-40B4-BE49-F238E27FC236}">
                <a16:creationId xmlns:a16="http://schemas.microsoft.com/office/drawing/2014/main" id="{55D8C8E5-6315-4B11-8790-09790CA96B06}"/>
              </a:ext>
            </a:extLst>
          </p:cNvPr>
          <p:cNvSpPr txBox="1">
            <a:spLocks/>
          </p:cNvSpPr>
          <p:nvPr/>
        </p:nvSpPr>
        <p:spPr>
          <a:xfrm>
            <a:off x="7717435" y="1345124"/>
            <a:ext cx="2507957" cy="1471315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endParaRPr lang="es-MX" sz="1200" dirty="0">
              <a:latin typeface="Abadi" panose="020B0604020104020204" pitchFamily="34" charset="0"/>
            </a:endParaRPr>
          </a:p>
        </p:txBody>
      </p:sp>
      <p:sp>
        <p:nvSpPr>
          <p:cNvPr id="79" name="TextBox 10">
            <a:extLst>
              <a:ext uri="{FF2B5EF4-FFF2-40B4-BE49-F238E27FC236}">
                <a16:creationId xmlns:a16="http://schemas.microsoft.com/office/drawing/2014/main" id="{13833C14-FB7B-4B97-B968-B1C6B138E2C8}"/>
              </a:ext>
            </a:extLst>
          </p:cNvPr>
          <p:cNvSpPr txBox="1"/>
          <p:nvPr/>
        </p:nvSpPr>
        <p:spPr>
          <a:xfrm>
            <a:off x="8462796" y="954214"/>
            <a:ext cx="109196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R" sz="1400" b="1" dirty="0" err="1">
                <a:latin typeface="Abadi" panose="020B0604020104020204" pitchFamily="34" charset="0"/>
                <a:ea typeface="Merriweather"/>
                <a:cs typeface="Merriweather"/>
              </a:rPr>
              <a:t>Alka</a:t>
            </a:r>
            <a:r>
              <a:rPr lang="es-CR" sz="1400" b="1" dirty="0">
                <a:latin typeface="Abadi" panose="020B0604020104020204" pitchFamily="34" charset="0"/>
                <a:ea typeface="Merriweather"/>
                <a:cs typeface="Merriweather"/>
              </a:rPr>
              <a:t> </a:t>
            </a:r>
            <a:r>
              <a:rPr lang="es-CR" sz="1400" b="1" dirty="0" err="1">
                <a:latin typeface="Abadi" panose="020B0604020104020204" pitchFamily="34" charset="0"/>
                <a:ea typeface="Merriweather"/>
                <a:cs typeface="Merriweather"/>
              </a:rPr>
              <a:t>Gastric</a:t>
            </a:r>
            <a:endParaRPr lang="es-CR" sz="1400" b="1" dirty="0">
              <a:latin typeface="Abadi" panose="020B0604020104020204" pitchFamily="34" charset="0"/>
              <a:ea typeface="Merriweather"/>
              <a:cs typeface="Merriweather"/>
            </a:endParaRPr>
          </a:p>
        </p:txBody>
      </p:sp>
      <p:sp>
        <p:nvSpPr>
          <p:cNvPr id="80" name="Marcador de contenido 2">
            <a:extLst>
              <a:ext uri="{FF2B5EF4-FFF2-40B4-BE49-F238E27FC236}">
                <a16:creationId xmlns:a16="http://schemas.microsoft.com/office/drawing/2014/main" id="{69D9BD66-246A-41B3-9527-9B47AF61F6ED}"/>
              </a:ext>
            </a:extLst>
          </p:cNvPr>
          <p:cNvSpPr txBox="1">
            <a:spLocks/>
          </p:cNvSpPr>
          <p:nvPr/>
        </p:nvSpPr>
        <p:spPr>
          <a:xfrm>
            <a:off x="1960076" y="1352305"/>
            <a:ext cx="2507957" cy="1464134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Paquete de frecuencia compartido </a:t>
            </a:r>
          </a:p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Alcances :  Msj 104, Trp’s 548 ,     COE : 1.0</a:t>
            </a:r>
          </a:p>
        </p:txBody>
      </p:sp>
      <p:sp>
        <p:nvSpPr>
          <p:cNvPr id="81" name="Marcador de contenido 2">
            <a:extLst>
              <a:ext uri="{FF2B5EF4-FFF2-40B4-BE49-F238E27FC236}">
                <a16:creationId xmlns:a16="http://schemas.microsoft.com/office/drawing/2014/main" id="{C4640BF2-1194-4F37-9A26-5FCA45345626}"/>
              </a:ext>
            </a:extLst>
          </p:cNvPr>
          <p:cNvSpPr txBox="1">
            <a:spLocks/>
          </p:cNvSpPr>
          <p:nvPr/>
        </p:nvSpPr>
        <p:spPr>
          <a:xfrm>
            <a:off x="4800600" y="5942505"/>
            <a:ext cx="2511517" cy="779403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. </a:t>
            </a:r>
          </a:p>
          <a:p>
            <a:pPr marL="0" indent="0">
              <a:buNone/>
            </a:pPr>
            <a:endParaRPr lang="es-MX" sz="1200" dirty="0">
              <a:latin typeface="Abadi" panose="020B0604020104020204" pitchFamily="34" charset="0"/>
            </a:endParaRPr>
          </a:p>
        </p:txBody>
      </p:sp>
      <p:pic>
        <p:nvPicPr>
          <p:cNvPr id="82" name="Imagen 2">
            <a:extLst>
              <a:ext uri="{FF2B5EF4-FFF2-40B4-BE49-F238E27FC236}">
                <a16:creationId xmlns:a16="http://schemas.microsoft.com/office/drawing/2014/main" id="{88859596-E568-4A8A-AAB7-A7377F7FDFC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8" y="5971987"/>
            <a:ext cx="674242" cy="674242"/>
          </a:xfrm>
          <a:prstGeom prst="rect">
            <a:avLst/>
          </a:prstGeom>
        </p:spPr>
      </p:pic>
      <p:sp>
        <p:nvSpPr>
          <p:cNvPr id="83" name="Marcador de contenido 2">
            <a:extLst>
              <a:ext uri="{FF2B5EF4-FFF2-40B4-BE49-F238E27FC236}">
                <a16:creationId xmlns:a16="http://schemas.microsoft.com/office/drawing/2014/main" id="{ECACCD17-3A10-4924-A6CB-17729ADBDC3A}"/>
              </a:ext>
            </a:extLst>
          </p:cNvPr>
          <p:cNvSpPr txBox="1">
            <a:spLocks/>
          </p:cNvSpPr>
          <p:nvPr/>
        </p:nvSpPr>
        <p:spPr>
          <a:xfrm>
            <a:off x="1958009" y="5942505"/>
            <a:ext cx="2510020" cy="779403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</p:txBody>
      </p:sp>
      <p:sp>
        <p:nvSpPr>
          <p:cNvPr id="84" name="Marcador de contenido 2">
            <a:extLst>
              <a:ext uri="{FF2B5EF4-FFF2-40B4-BE49-F238E27FC236}">
                <a16:creationId xmlns:a16="http://schemas.microsoft.com/office/drawing/2014/main" id="{A704B52E-2930-4AD0-9DB1-C6523E331A6D}"/>
              </a:ext>
            </a:extLst>
          </p:cNvPr>
          <p:cNvSpPr txBox="1">
            <a:spLocks/>
          </p:cNvSpPr>
          <p:nvPr/>
        </p:nvSpPr>
        <p:spPr>
          <a:xfrm>
            <a:off x="7714860" y="5942505"/>
            <a:ext cx="2516272" cy="751909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</p:txBody>
      </p:sp>
    </p:spTree>
    <p:extLst>
      <p:ext uri="{BB962C8B-B14F-4D97-AF65-F5344CB8AC3E}">
        <p14:creationId xmlns:p14="http://schemas.microsoft.com/office/powerpoint/2010/main" val="1867464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A66843B-C54E-4A68-84F5-289CC97225A7}"/>
              </a:ext>
            </a:extLst>
          </p:cNvPr>
          <p:cNvSpPr/>
          <p:nvPr/>
        </p:nvSpPr>
        <p:spPr>
          <a:xfrm>
            <a:off x="8527333" y="4268136"/>
            <a:ext cx="998979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aphicFrame>
        <p:nvGraphicFramePr>
          <p:cNvPr id="42" name="Marcador de contenido 10">
            <a:extLst>
              <a:ext uri="{FF2B5EF4-FFF2-40B4-BE49-F238E27FC236}">
                <a16:creationId xmlns:a16="http://schemas.microsoft.com/office/drawing/2014/main" id="{D56C3FD9-F7AF-421C-BBFF-8C2B0C4F68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8488330"/>
              </p:ext>
            </p:extLst>
          </p:nvPr>
        </p:nvGraphicFramePr>
        <p:xfrm>
          <a:off x="5871868" y="4172806"/>
          <a:ext cx="6319340" cy="2572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23390A8-F290-43A7-9F96-E609942B5670}"/>
              </a:ext>
            </a:extLst>
          </p:cNvPr>
          <p:cNvSpPr/>
          <p:nvPr/>
        </p:nvSpPr>
        <p:spPr>
          <a:xfrm>
            <a:off x="2466999" y="4260466"/>
            <a:ext cx="90816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D3A9D05-F844-431B-BCAC-44C0143702CC}"/>
              </a:ext>
            </a:extLst>
          </p:cNvPr>
          <p:cNvSpPr/>
          <p:nvPr/>
        </p:nvSpPr>
        <p:spPr>
          <a:xfrm>
            <a:off x="8449036" y="827087"/>
            <a:ext cx="120876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040C8B7-2A6E-412B-9010-BE3A5BB222EA}"/>
              </a:ext>
            </a:extLst>
          </p:cNvPr>
          <p:cNvSpPr/>
          <p:nvPr/>
        </p:nvSpPr>
        <p:spPr>
          <a:xfrm>
            <a:off x="2274543" y="847882"/>
            <a:ext cx="2850204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526" y="-8159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DIARRÉICOS 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5871868" y="-56288"/>
            <a:ext cx="0" cy="69827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4154266"/>
            <a:ext cx="12221107" cy="10448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21" name="Gráfico 16">
            <a:extLst>
              <a:ext uri="{FF2B5EF4-FFF2-40B4-BE49-F238E27FC236}">
                <a16:creationId xmlns:a16="http://schemas.microsoft.com/office/drawing/2014/main" id="{9614D2A4-6A3E-4675-BF63-453B74AC72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33764144"/>
              </p:ext>
            </p:extLst>
          </p:nvPr>
        </p:nvGraphicFramePr>
        <p:xfrm>
          <a:off x="5943595" y="739677"/>
          <a:ext cx="6246693" cy="3414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68A1F49-03A0-40BB-B4C3-C4CB8AC72F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80515256"/>
              </p:ext>
            </p:extLst>
          </p:nvPr>
        </p:nvGraphicFramePr>
        <p:xfrm>
          <a:off x="1236359" y="838622"/>
          <a:ext cx="4563773" cy="2271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785628DB-99DF-4C03-B512-C43CDD204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18175877"/>
              </p:ext>
            </p:extLst>
          </p:nvPr>
        </p:nvGraphicFramePr>
        <p:xfrm>
          <a:off x="1674800" y="2812439"/>
          <a:ext cx="3559175" cy="134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9" name="Hoja de cálculo" r:id="rId8" imgW="3835400" imgH="1346200" progId="Excel.Sheet.12">
                  <p:embed/>
                </p:oleObj>
              </mc:Choice>
              <mc:Fallback>
                <p:oleObj name="Hoja de cálculo" r:id="rId8" imgW="3835400" imgH="1346200" progId="Excel.Sheet.12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785628DB-99DF-4C03-B512-C43CDD204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674800" y="2812439"/>
                        <a:ext cx="3559175" cy="1346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748B412C-65AF-401C-A123-954C9807BA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5684884"/>
              </p:ext>
            </p:extLst>
          </p:nvPr>
        </p:nvGraphicFramePr>
        <p:xfrm>
          <a:off x="-29107" y="4172807"/>
          <a:ext cx="5900972" cy="2685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7" name="Object 36">
            <a:extLst>
              <a:ext uri="{FF2B5EF4-FFF2-40B4-BE49-F238E27FC236}">
                <a16:creationId xmlns:a16="http://schemas.microsoft.com/office/drawing/2014/main" id="{E3329616-4A16-4E9F-BC32-F9AE170E7E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81758523"/>
              </p:ext>
            </p:extLst>
          </p:nvPr>
        </p:nvGraphicFramePr>
        <p:xfrm>
          <a:off x="6407150" y="1119188"/>
          <a:ext cx="5783263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0" name="Hoja de cálculo" r:id="rId11" imgW="4432300" imgH="215900" progId="Excel.Sheet.12">
                  <p:embed/>
                </p:oleObj>
              </mc:Choice>
              <mc:Fallback>
                <p:oleObj name="Hoja de cálculo" r:id="rId11" imgW="4432300" imgH="215900" progId="Excel.Sheet.12">
                  <p:embed/>
                  <p:pic>
                    <p:nvPicPr>
                      <p:cNvPr id="37" name="Object 36">
                        <a:extLst>
                          <a:ext uri="{FF2B5EF4-FFF2-40B4-BE49-F238E27FC236}">
                            <a16:creationId xmlns:a16="http://schemas.microsoft.com/office/drawing/2014/main" id="{E3329616-4A16-4E9F-BC32-F9AE170E7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6407150" y="1119188"/>
                        <a:ext cx="5783263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1">
            <a:extLst>
              <a:ext uri="{FF2B5EF4-FFF2-40B4-BE49-F238E27FC236}">
                <a16:creationId xmlns:a16="http://schemas.microsoft.com/office/drawing/2014/main" id="{55443EAC-93D8-4F92-BFE3-F3628EEB10E7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18-45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 2024 </a:t>
            </a:r>
          </a:p>
        </p:txBody>
      </p:sp>
      <p:pic>
        <p:nvPicPr>
          <p:cNvPr id="45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8CE7A3EC-D360-4CEC-8CF0-14ED42C099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59436C7B-7335-495D-AC94-9D0DC397E2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a 3">
            <a:extLst>
              <a:ext uri="{FF2B5EF4-FFF2-40B4-BE49-F238E27FC236}">
                <a16:creationId xmlns:a16="http://schemas.microsoft.com/office/drawing/2014/main" id="{449A8407-ECBA-1742-BA26-66D819954C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818111"/>
              </p:ext>
            </p:extLst>
          </p:nvPr>
        </p:nvGraphicFramePr>
        <p:xfrm>
          <a:off x="851216" y="968679"/>
          <a:ext cx="632459" cy="1974305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32459">
                  <a:extLst>
                    <a:ext uri="{9D8B030D-6E8A-4147-A177-3AD203B41FA5}">
                      <a16:colId xmlns:a16="http://schemas.microsoft.com/office/drawing/2014/main" val="1185865620"/>
                    </a:ext>
                  </a:extLst>
                </a:gridCol>
              </a:tblGrid>
              <a:tr h="282053">
                <a:tc>
                  <a:txBody>
                    <a:bodyPr/>
                    <a:lstStyle/>
                    <a:p>
                      <a:pPr algn="ctr"/>
                      <a:r>
                        <a:rPr lang="es-HN" sz="900" dirty="0">
                          <a:latin typeface="Abadi MT Condensed Light" panose="020B0306030101010103" pitchFamily="34" charset="77"/>
                        </a:rPr>
                        <a:t>SO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884866"/>
                  </a:ext>
                </a:extLst>
              </a:tr>
              <a:tr h="423063">
                <a:tc>
                  <a:txBody>
                    <a:bodyPr/>
                    <a:lstStyle/>
                    <a:p>
                      <a:pPr algn="ctr"/>
                      <a:r>
                        <a:rPr lang="es-HN" sz="900" dirty="0">
                          <a:latin typeface="Abadi MT Condensed Light" panose="020B0306030101010103" pitchFamily="34" charset="77"/>
                        </a:rPr>
                        <a:t>9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9576745"/>
                  </a:ext>
                </a:extLst>
              </a:tr>
              <a:tr h="423063">
                <a:tc>
                  <a:txBody>
                    <a:bodyPr/>
                    <a:lstStyle/>
                    <a:p>
                      <a:pPr algn="ctr"/>
                      <a:r>
                        <a:rPr lang="es-HN" sz="900" dirty="0">
                          <a:latin typeface="Abadi MT Condensed Light" panose="020B0306030101010103" pitchFamily="34" charset="77"/>
                        </a:rPr>
                        <a:t>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6237253"/>
                  </a:ext>
                </a:extLst>
              </a:tr>
              <a:tr h="423063">
                <a:tc>
                  <a:txBody>
                    <a:bodyPr/>
                    <a:lstStyle/>
                    <a:p>
                      <a:pPr algn="ctr"/>
                      <a:r>
                        <a:rPr lang="es-HN" sz="900" dirty="0">
                          <a:latin typeface="Abadi MT Condensed Light" panose="020B0306030101010103" pitchFamily="34" charset="77"/>
                        </a:rPr>
                        <a:t>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88940816"/>
                  </a:ext>
                </a:extLst>
              </a:tr>
              <a:tr h="423063">
                <a:tc>
                  <a:txBody>
                    <a:bodyPr/>
                    <a:lstStyle/>
                    <a:p>
                      <a:pPr algn="ctr"/>
                      <a:r>
                        <a:rPr lang="es-HN" sz="900" dirty="0">
                          <a:latin typeface="Abadi MT Condensed Light" panose="020B0306030101010103" pitchFamily="34" charset="77"/>
                        </a:rPr>
                        <a:t>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2989492"/>
                  </a:ext>
                </a:extLst>
              </a:tr>
            </a:tbl>
          </a:graphicData>
        </a:graphic>
      </p:graphicFrame>
      <p:sp>
        <p:nvSpPr>
          <p:cNvPr id="4" name="CuadroTexto 3">
            <a:extLst>
              <a:ext uri="{FF2B5EF4-FFF2-40B4-BE49-F238E27FC236}">
                <a16:creationId xmlns:a16="http://schemas.microsoft.com/office/drawing/2014/main" id="{545903FD-6B19-8547-AEEF-1434C8D1B7BF}"/>
              </a:ext>
            </a:extLst>
          </p:cNvPr>
          <p:cNvSpPr txBox="1"/>
          <p:nvPr/>
        </p:nvSpPr>
        <p:spPr>
          <a:xfrm>
            <a:off x="2151599" y="6626495"/>
            <a:ext cx="3946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dirty="0">
                <a:latin typeface="Abadi MT Condensed Light" panose="020B0306030101010103" pitchFamily="34" charset="77"/>
              </a:rPr>
              <a:t>42%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5D0F1CA4-A2ED-1C4E-8949-36912603BFB4}"/>
              </a:ext>
            </a:extLst>
          </p:cNvPr>
          <p:cNvSpPr txBox="1"/>
          <p:nvPr/>
        </p:nvSpPr>
        <p:spPr>
          <a:xfrm>
            <a:off x="2798951" y="6646012"/>
            <a:ext cx="3946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dirty="0">
                <a:latin typeface="Abadi MT Condensed Light" panose="020B0306030101010103" pitchFamily="34" charset="77"/>
              </a:rPr>
              <a:t>58%</a:t>
            </a:r>
          </a:p>
        </p:txBody>
      </p:sp>
    </p:spTree>
    <p:extLst>
      <p:ext uri="{BB962C8B-B14F-4D97-AF65-F5344CB8AC3E}">
        <p14:creationId xmlns:p14="http://schemas.microsoft.com/office/powerpoint/2010/main" val="645621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8DA2D12-8206-4D3D-9493-AF5446A62F01}"/>
              </a:ext>
            </a:extLst>
          </p:cNvPr>
          <p:cNvSpPr/>
          <p:nvPr/>
        </p:nvSpPr>
        <p:spPr>
          <a:xfrm>
            <a:off x="914866" y="829674"/>
            <a:ext cx="1946728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aphicFrame>
        <p:nvGraphicFramePr>
          <p:cNvPr id="42" name="Chart 26">
            <a:extLst>
              <a:ext uri="{FF2B5EF4-FFF2-40B4-BE49-F238E27FC236}">
                <a16:creationId xmlns:a16="http://schemas.microsoft.com/office/drawing/2014/main" id="{2C638921-2A5D-F54C-98A0-95108F83443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9508937"/>
              </p:ext>
            </p:extLst>
          </p:nvPr>
        </p:nvGraphicFramePr>
        <p:xfrm>
          <a:off x="125087" y="716516"/>
          <a:ext cx="3526285" cy="2810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8374521-8765-48E6-BD6E-29F7A80E3004}"/>
              </a:ext>
            </a:extLst>
          </p:cNvPr>
          <p:cNvSpPr/>
          <p:nvPr/>
        </p:nvSpPr>
        <p:spPr>
          <a:xfrm>
            <a:off x="9585751" y="816644"/>
            <a:ext cx="176975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6F8AB4D-EADF-4793-B39F-087293A0A55C}"/>
              </a:ext>
            </a:extLst>
          </p:cNvPr>
          <p:cNvSpPr/>
          <p:nvPr/>
        </p:nvSpPr>
        <p:spPr>
          <a:xfrm>
            <a:off x="6105939" y="3714742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A51F7E7F-3005-452B-A37E-6345C488012C}"/>
              </a:ext>
            </a:extLst>
          </p:cNvPr>
          <p:cNvSpPr/>
          <p:nvPr/>
        </p:nvSpPr>
        <p:spPr>
          <a:xfrm>
            <a:off x="1463022" y="3714440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55" y="-8437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DIARRÉICO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CE1A38D-B15D-44B8-8B16-ADBCF0FB153A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18-45</a:t>
            </a:r>
          </a:p>
          <a:p>
            <a:pPr>
              <a:lnSpc>
                <a:spcPct val="110000"/>
              </a:lnSpc>
            </a:pPr>
            <a:r>
              <a:rPr lang="de-CH" sz="2000" dirty="0" err="1">
                <a:latin typeface="Abadi" panose="020B0604020104020204" pitchFamily="34" charset="0"/>
              </a:rPr>
              <a:t>Marzo</a:t>
            </a:r>
            <a:r>
              <a:rPr lang="de-CH" sz="2000" dirty="0">
                <a:latin typeface="Abadi" panose="020B0604020104020204" pitchFamily="34" charset="0"/>
              </a:rPr>
              <a:t> 2024 </a:t>
            </a:r>
          </a:p>
        </p:txBody>
      </p:sp>
      <p:pic>
        <p:nvPicPr>
          <p:cNvPr id="1026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FEEED1DF-8648-4950-89EB-7A9954C08F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27533FF8-4632-48D4-ADB0-357699504C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4724484" y="687166"/>
            <a:ext cx="0" cy="292367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3608125"/>
            <a:ext cx="1237037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6592C3A-4914-420B-9823-54E1CEF44AEF}"/>
              </a:ext>
            </a:extLst>
          </p:cNvPr>
          <p:cNvSpPr/>
          <p:nvPr/>
        </p:nvSpPr>
        <p:spPr>
          <a:xfrm>
            <a:off x="5817753" y="826636"/>
            <a:ext cx="146260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483B254-E4F6-40A3-9B23-E4A24DF0AC0D}"/>
              </a:ext>
            </a:extLst>
          </p:cNvPr>
          <p:cNvSpPr txBox="1"/>
          <p:nvPr/>
        </p:nvSpPr>
        <p:spPr>
          <a:xfrm>
            <a:off x="817038" y="3663238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NEW CREATIV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D43246-8B24-4048-847D-87FACD838830}"/>
              </a:ext>
            </a:extLst>
          </p:cNvPr>
          <p:cNvSpPr txBox="1"/>
          <p:nvPr/>
        </p:nvSpPr>
        <p:spPr>
          <a:xfrm>
            <a:off x="5441913" y="3663237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OP CREATIVES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61D8F93-DC41-4187-9DDC-CAF216947808}"/>
              </a:ext>
            </a:extLst>
          </p:cNvPr>
          <p:cNvCxnSpPr>
            <a:cxnSpLocks/>
          </p:cNvCxnSpPr>
          <p:nvPr/>
        </p:nvCxnSpPr>
        <p:spPr>
          <a:xfrm>
            <a:off x="4553687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7B3C51B-B8A4-4BA3-B6F8-D38845A5B52C}"/>
              </a:ext>
            </a:extLst>
          </p:cNvPr>
          <p:cNvCxnSpPr>
            <a:cxnSpLocks/>
          </p:cNvCxnSpPr>
          <p:nvPr/>
        </p:nvCxnSpPr>
        <p:spPr>
          <a:xfrm>
            <a:off x="9315795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125F62A-9C20-4B7B-9329-07AF495224FD}"/>
              </a:ext>
            </a:extLst>
          </p:cNvPr>
          <p:cNvSpPr txBox="1"/>
          <p:nvPr/>
        </p:nvSpPr>
        <p:spPr>
          <a:xfrm>
            <a:off x="9360100" y="3634864"/>
            <a:ext cx="273775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>
                <a:latin typeface="Abadi" panose="020B0604020104020204" pitchFamily="34" charset="0"/>
              </a:rPr>
              <a:t>Aprendizajes: </a:t>
            </a:r>
          </a:p>
          <a:p>
            <a:pPr algn="l"/>
            <a:r>
              <a:rPr lang="es-HN" sz="1200" b="0" i="0" dirty="0">
                <a:solidFill>
                  <a:srgbClr val="0D0D0D"/>
                </a:solidFill>
                <a:effectLst/>
                <a:latin typeface="Söhne"/>
              </a:rPr>
              <a:t>El medio principal de la categoría es la radio, representando el 58% del mix de medios. Tanto Tap On como Veloz utilizan exclusivamente este medio para sus campañas. </a:t>
            </a:r>
          </a:p>
          <a:p>
            <a:pPr algn="l"/>
            <a:r>
              <a:rPr lang="es-HN" sz="1200" dirty="0">
                <a:solidFill>
                  <a:srgbClr val="0D0D0D"/>
                </a:solidFill>
                <a:latin typeface="Söhne"/>
              </a:rPr>
              <a:t>Durante los 5 meses del año primeros</a:t>
            </a:r>
            <a:r>
              <a:rPr lang="es-HN" sz="1200" b="0" i="0" dirty="0">
                <a:solidFill>
                  <a:srgbClr val="0D0D0D"/>
                </a:solidFill>
                <a:effectLst/>
                <a:latin typeface="Söhne"/>
              </a:rPr>
              <a:t> la categoría ha generado poco ruido.</a:t>
            </a:r>
          </a:p>
          <a:p>
            <a:pPr algn="l"/>
            <a:r>
              <a:rPr lang="es-HN" sz="1200" b="0" i="0" dirty="0">
                <a:solidFill>
                  <a:srgbClr val="0D0D0D"/>
                </a:solidFill>
                <a:effectLst/>
                <a:latin typeface="Söhne"/>
              </a:rPr>
              <a:t>Alka AD lidera tanto en el SOI como en SOV. El medio radial es fundamental en esta categoría, ya que permite llegar a masas y es ideal para generar frecuencia </a:t>
            </a:r>
            <a:r>
              <a:rPr lang="es-HN" sz="1200" dirty="0">
                <a:solidFill>
                  <a:srgbClr val="0D0D0D"/>
                </a:solidFill>
                <a:latin typeface="Söhne"/>
              </a:rPr>
              <a:t>de repetición.</a:t>
            </a:r>
          </a:p>
          <a:p>
            <a:pPr algn="l"/>
            <a:r>
              <a:rPr lang="es-HN" sz="1200" b="0" i="0" dirty="0">
                <a:solidFill>
                  <a:srgbClr val="0D0D0D"/>
                </a:solidFill>
                <a:effectLst/>
                <a:latin typeface="Söhne"/>
              </a:rPr>
              <a:t>No hay </a:t>
            </a:r>
            <a:r>
              <a:rPr lang="es-HN" sz="1200" dirty="0">
                <a:solidFill>
                  <a:srgbClr val="0D0D0D"/>
                </a:solidFill>
                <a:latin typeface="Söhne"/>
              </a:rPr>
              <a:t>nuevos creativos en la categoría.</a:t>
            </a:r>
            <a:endParaRPr lang="es-HN" sz="1200" b="0" i="0" dirty="0">
              <a:solidFill>
                <a:srgbClr val="0D0D0D"/>
              </a:solidFill>
              <a:effectLst/>
              <a:latin typeface="Söhne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1AB5A22-D25F-4A53-8305-C43193081AA7}"/>
              </a:ext>
            </a:extLst>
          </p:cNvPr>
          <p:cNvCxnSpPr>
            <a:cxnSpLocks/>
          </p:cNvCxnSpPr>
          <p:nvPr/>
        </p:nvCxnSpPr>
        <p:spPr>
          <a:xfrm>
            <a:off x="8719463" y="-194425"/>
            <a:ext cx="0" cy="3809329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65" name="Chart 64">
            <a:extLst>
              <a:ext uri="{FF2B5EF4-FFF2-40B4-BE49-F238E27FC236}">
                <a16:creationId xmlns:a16="http://schemas.microsoft.com/office/drawing/2014/main" id="{F99528B7-E46E-4001-AE6D-7F23D6E800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8227886"/>
              </p:ext>
            </p:extLst>
          </p:nvPr>
        </p:nvGraphicFramePr>
        <p:xfrm>
          <a:off x="8741231" y="728089"/>
          <a:ext cx="3450769" cy="2790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68" name="Chart 26">
            <a:extLst>
              <a:ext uri="{FF2B5EF4-FFF2-40B4-BE49-F238E27FC236}">
                <a16:creationId xmlns:a16="http://schemas.microsoft.com/office/drawing/2014/main" id="{2A791AC6-E953-FC48-B96D-327F850B3158}"/>
              </a:ext>
            </a:extLst>
          </p:cNvPr>
          <p:cNvGraphicFramePr/>
          <p:nvPr/>
        </p:nvGraphicFramePr>
        <p:xfrm>
          <a:off x="4185817" y="738354"/>
          <a:ext cx="4420391" cy="2810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graphicFrame>
        <p:nvGraphicFramePr>
          <p:cNvPr id="37" name="Tabla 10">
            <a:extLst>
              <a:ext uri="{FF2B5EF4-FFF2-40B4-BE49-F238E27FC236}">
                <a16:creationId xmlns:a16="http://schemas.microsoft.com/office/drawing/2014/main" id="{9555B7F7-5490-4C40-8980-EC4A7547A0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9818078"/>
              </p:ext>
            </p:extLst>
          </p:nvPr>
        </p:nvGraphicFramePr>
        <p:xfrm>
          <a:off x="3611928" y="1032007"/>
          <a:ext cx="1001771" cy="2049283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522092">
                  <a:extLst>
                    <a:ext uri="{9D8B030D-6E8A-4147-A177-3AD203B41FA5}">
                      <a16:colId xmlns:a16="http://schemas.microsoft.com/office/drawing/2014/main" val="3008694403"/>
                    </a:ext>
                  </a:extLst>
                </a:gridCol>
                <a:gridCol w="479679">
                  <a:extLst>
                    <a:ext uri="{9D8B030D-6E8A-4147-A177-3AD203B41FA5}">
                      <a16:colId xmlns:a16="http://schemas.microsoft.com/office/drawing/2014/main" val="1296301703"/>
                    </a:ext>
                  </a:extLst>
                </a:gridCol>
              </a:tblGrid>
              <a:tr h="422867">
                <a:tc>
                  <a:txBody>
                    <a:bodyPr/>
                    <a:lstStyle/>
                    <a:p>
                      <a:pPr algn="ctr"/>
                      <a:r>
                        <a:rPr lang="es-HN" sz="12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Grp’s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4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SOV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843301"/>
                  </a:ext>
                </a:extLst>
              </a:tr>
              <a:tr h="813208">
                <a:tc>
                  <a:txBody>
                    <a:bodyPr/>
                    <a:lstStyle/>
                    <a:p>
                      <a:pPr algn="ctr"/>
                      <a:r>
                        <a:rPr lang="es-HN" sz="1200" dirty="0">
                          <a:latin typeface="Abadi MT Condensed Light" panose="020B0306030101010103" pitchFamily="34" charset="77"/>
                        </a:rPr>
                        <a:t>96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200" dirty="0">
                          <a:latin typeface="Abadi MT Condensed Light" panose="020B0306030101010103" pitchFamily="34" charset="77"/>
                        </a:rPr>
                        <a:t>9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4059227"/>
                  </a:ext>
                </a:extLst>
              </a:tr>
              <a:tr h="813208">
                <a:tc>
                  <a:txBody>
                    <a:bodyPr/>
                    <a:lstStyle/>
                    <a:p>
                      <a:pPr algn="ctr"/>
                      <a:r>
                        <a:rPr lang="es-HN" sz="1200" dirty="0">
                          <a:latin typeface="Abadi MT Condensed Light" panose="020B0306030101010103" pitchFamily="34" charset="77"/>
                        </a:rPr>
                        <a:t>8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200" dirty="0">
                          <a:latin typeface="Abadi MT Condensed Light" panose="020B0306030101010103" pitchFamily="34" charset="77"/>
                        </a:rPr>
                        <a:t>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08031915"/>
                  </a:ext>
                </a:extLst>
              </a:tr>
            </a:tbl>
          </a:graphicData>
        </a:graphic>
      </p:graphicFrame>
      <p:sp>
        <p:nvSpPr>
          <p:cNvPr id="30" name="TextBox 48">
            <a:extLst>
              <a:ext uri="{FF2B5EF4-FFF2-40B4-BE49-F238E27FC236}">
                <a16:creationId xmlns:a16="http://schemas.microsoft.com/office/drawing/2014/main" id="{3D34F840-A927-434B-9BEE-DAA8120CC4C0}"/>
              </a:ext>
            </a:extLst>
          </p:cNvPr>
          <p:cNvSpPr txBox="1"/>
          <p:nvPr/>
        </p:nvSpPr>
        <p:spPr>
          <a:xfrm>
            <a:off x="4756338" y="5531943"/>
            <a:ext cx="22080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b="1" dirty="0">
                <a:latin typeface="Abadi" panose="020B0604020104020204" pitchFamily="34" charset="0"/>
              </a:rPr>
              <a:t>Enteroguanil</a:t>
            </a:r>
            <a:r>
              <a:rPr lang="es-MX" sz="1000" dirty="0">
                <a:latin typeface="Abadi" panose="020B0604020104020204" pitchFamily="34" charset="0"/>
              </a:rPr>
              <a:t>–  Cortina patrocinio seg deportes en noticieros</a:t>
            </a:r>
          </a:p>
        </p:txBody>
      </p:sp>
      <p:graphicFrame>
        <p:nvGraphicFramePr>
          <p:cNvPr id="28" name="Tabla 12">
            <a:extLst>
              <a:ext uri="{FF2B5EF4-FFF2-40B4-BE49-F238E27FC236}">
                <a16:creationId xmlns:a16="http://schemas.microsoft.com/office/drawing/2014/main" id="{27D28CF6-4742-2644-B4BE-3145128840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9380472"/>
              </p:ext>
            </p:extLst>
          </p:nvPr>
        </p:nvGraphicFramePr>
        <p:xfrm>
          <a:off x="9585751" y="3324333"/>
          <a:ext cx="182652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3264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913264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4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54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35" name="Tabla 12">
            <a:extLst>
              <a:ext uri="{FF2B5EF4-FFF2-40B4-BE49-F238E27FC236}">
                <a16:creationId xmlns:a16="http://schemas.microsoft.com/office/drawing/2014/main" id="{09386FC8-F3EA-AD49-8DB8-00EED6C4B9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7075224"/>
              </p:ext>
            </p:extLst>
          </p:nvPr>
        </p:nvGraphicFramePr>
        <p:xfrm>
          <a:off x="5666091" y="3341089"/>
          <a:ext cx="2457036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8518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1228518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8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92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39" name="Tabla 12">
            <a:extLst>
              <a:ext uri="{FF2B5EF4-FFF2-40B4-BE49-F238E27FC236}">
                <a16:creationId xmlns:a16="http://schemas.microsoft.com/office/drawing/2014/main" id="{E0E620C1-8AC7-0348-85AE-17F983B23A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9611170"/>
              </p:ext>
            </p:extLst>
          </p:nvPr>
        </p:nvGraphicFramePr>
        <p:xfrm>
          <a:off x="1414205" y="3312822"/>
          <a:ext cx="190531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2659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952659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84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pic>
        <p:nvPicPr>
          <p:cNvPr id="3" name="504174232130800-2961-2994.mp3" descr="504174232130800-2961-2994.mp3">
            <a:hlinkClick r:id="" action="ppaction://media"/>
            <a:extLst>
              <a:ext uri="{FF2B5EF4-FFF2-40B4-BE49-F238E27FC236}">
                <a16:creationId xmlns:a16="http://schemas.microsoft.com/office/drawing/2014/main" id="{C306078E-F18A-1A40-A837-A87DB7D816C3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4971764" y="5867168"/>
            <a:ext cx="812800" cy="812800"/>
          </a:xfrm>
          <a:prstGeom prst="rect">
            <a:avLst/>
          </a:prstGeom>
        </p:spPr>
      </p:pic>
      <p:sp>
        <p:nvSpPr>
          <p:cNvPr id="40" name="TextBox 48">
            <a:extLst>
              <a:ext uri="{FF2B5EF4-FFF2-40B4-BE49-F238E27FC236}">
                <a16:creationId xmlns:a16="http://schemas.microsoft.com/office/drawing/2014/main" id="{66FA2062-29E6-724C-84FC-738855C8A938}"/>
              </a:ext>
            </a:extLst>
          </p:cNvPr>
          <p:cNvSpPr txBox="1"/>
          <p:nvPr/>
        </p:nvSpPr>
        <p:spPr>
          <a:xfrm>
            <a:off x="4340969" y="6533171"/>
            <a:ext cx="22080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b="1" dirty="0">
                <a:latin typeface="Abadi" panose="020B0604020104020204" pitchFamily="34" charset="0"/>
              </a:rPr>
              <a:t>Veloz</a:t>
            </a:r>
            <a:r>
              <a:rPr lang="es-MX" sz="1000" dirty="0">
                <a:latin typeface="Abadi" panose="020B0604020104020204" pitchFamily="34" charset="0"/>
              </a:rPr>
              <a:t>–  Rápido y potente</a:t>
            </a:r>
          </a:p>
        </p:txBody>
      </p:sp>
      <p:pic>
        <p:nvPicPr>
          <p:cNvPr id="5" name="504187231641000-2792-2815.mp3" descr="504187231641000-2792-2815.mp3">
            <a:hlinkClick r:id="" action="ppaction://media"/>
            <a:extLst>
              <a:ext uri="{FF2B5EF4-FFF2-40B4-BE49-F238E27FC236}">
                <a16:creationId xmlns:a16="http://schemas.microsoft.com/office/drawing/2014/main" id="{715A44A8-2A10-F64B-AF4D-81321248BA9C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5"/>
          <a:stretch>
            <a:fillRect/>
          </a:stretch>
        </p:blipFill>
        <p:spPr>
          <a:xfrm>
            <a:off x="7540490" y="5778164"/>
            <a:ext cx="812800" cy="812800"/>
          </a:xfrm>
          <a:prstGeom prst="rect">
            <a:avLst/>
          </a:prstGeom>
        </p:spPr>
      </p:pic>
      <p:sp>
        <p:nvSpPr>
          <p:cNvPr id="41" name="TextBox 48">
            <a:extLst>
              <a:ext uri="{FF2B5EF4-FFF2-40B4-BE49-F238E27FC236}">
                <a16:creationId xmlns:a16="http://schemas.microsoft.com/office/drawing/2014/main" id="{AC8E2101-37DE-444F-A016-E8CE38C45E6D}"/>
              </a:ext>
            </a:extLst>
          </p:cNvPr>
          <p:cNvSpPr txBox="1"/>
          <p:nvPr/>
        </p:nvSpPr>
        <p:spPr>
          <a:xfrm>
            <a:off x="6716014" y="6457890"/>
            <a:ext cx="22080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b="1" dirty="0">
                <a:latin typeface="Abadi" panose="020B0604020104020204" pitchFamily="34" charset="0"/>
              </a:rPr>
              <a:t>Tap On</a:t>
            </a:r>
            <a:r>
              <a:rPr lang="es-MX" sz="1000" dirty="0">
                <a:latin typeface="Abadi" panose="020B0604020104020204" pitchFamily="34" charset="0"/>
              </a:rPr>
              <a:t>  “Si tu problema es de corre que te alcanzo”</a:t>
            </a:r>
          </a:p>
        </p:txBody>
      </p:sp>
      <p:pic>
        <p:nvPicPr>
          <p:cNvPr id="6" name="50406023114130000-3448-3454.mp4" descr="50406023114130000-3448-3454.mp4">
            <a:hlinkClick r:id="" action="ppaction://media"/>
            <a:extLst>
              <a:ext uri="{FF2B5EF4-FFF2-40B4-BE49-F238E27FC236}">
                <a16:creationId xmlns:a16="http://schemas.microsoft.com/office/drawing/2014/main" id="{38264566-850D-874B-86D3-29DB15824DF4}"/>
              </a:ext>
            </a:extLst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16"/>
          <a:stretch>
            <a:fillRect/>
          </a:stretch>
        </p:blipFill>
        <p:spPr>
          <a:xfrm>
            <a:off x="4766406" y="4273546"/>
            <a:ext cx="1949606" cy="1039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114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3503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8" dur="2505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audio>
              <p:cMediaNode vol="80000">
                <p:cTn id="19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  <p:extLst>
    <p:ext uri="{6950BFC3-D8DA-4A85-94F7-54DA5524770B}">
      <p188:commentRel xmlns:p188="http://schemas.microsoft.com/office/powerpoint/2018/8/main" r:id="rId9"/>
    </p:ext>
  </p:extLs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408" y="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DIARRÉICO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CE2A666-5A11-4E16-A61A-50F8F6DB60B1}"/>
              </a:ext>
            </a:extLst>
          </p:cNvPr>
          <p:cNvSpPr/>
          <p:nvPr/>
        </p:nvSpPr>
        <p:spPr>
          <a:xfrm>
            <a:off x="5333214" y="607962"/>
            <a:ext cx="1608866" cy="22590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5068628-66AB-4882-89F7-38BC30276AAB}"/>
              </a:ext>
            </a:extLst>
          </p:cNvPr>
          <p:cNvSpPr txBox="1"/>
          <p:nvPr/>
        </p:nvSpPr>
        <p:spPr>
          <a:xfrm>
            <a:off x="4647337" y="563303"/>
            <a:ext cx="29816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600" dirty="0"/>
              <a:t>TÁCTICAS BAYER</a:t>
            </a:r>
          </a:p>
        </p:txBody>
      </p:sp>
      <p:sp>
        <p:nvSpPr>
          <p:cNvPr id="63" name="Title 1">
            <a:extLst>
              <a:ext uri="{FF2B5EF4-FFF2-40B4-BE49-F238E27FC236}">
                <a16:creationId xmlns:a16="http://schemas.microsoft.com/office/drawing/2014/main" id="{37C733DC-BC95-4E93-B24E-E6E3244025DC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18-45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, 2024 </a:t>
            </a:r>
          </a:p>
        </p:txBody>
      </p:sp>
      <p:pic>
        <p:nvPicPr>
          <p:cNvPr id="64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A1513007-9818-4183-B323-4A8938FEA9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0AFB4ED1-6F9C-451F-B2AE-2511A55397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10">
            <a:extLst>
              <a:ext uri="{FF2B5EF4-FFF2-40B4-BE49-F238E27FC236}">
                <a16:creationId xmlns:a16="http://schemas.microsoft.com/office/drawing/2014/main" id="{78591E11-24F8-4B46-B4C6-B424FD3BF05D}"/>
              </a:ext>
            </a:extLst>
          </p:cNvPr>
          <p:cNvSpPr txBox="1"/>
          <p:nvPr/>
        </p:nvSpPr>
        <p:spPr>
          <a:xfrm>
            <a:off x="2804634" y="954214"/>
            <a:ext cx="761747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R" sz="1300" b="1" dirty="0" err="1">
                <a:latin typeface="Abadi" panose="020B0604020104020204" pitchFamily="34" charset="0"/>
                <a:ea typeface="Merriweather"/>
                <a:cs typeface="Merriweather"/>
              </a:rPr>
              <a:t>Alka</a:t>
            </a:r>
            <a:r>
              <a:rPr lang="es-CR" sz="1300" b="1" dirty="0">
                <a:latin typeface="Abadi" panose="020B0604020104020204" pitchFamily="34" charset="0"/>
                <a:ea typeface="Merriweather"/>
                <a:cs typeface="Merriweather"/>
              </a:rPr>
              <a:t> AD</a:t>
            </a:r>
          </a:p>
        </p:txBody>
      </p:sp>
      <p:sp>
        <p:nvSpPr>
          <p:cNvPr id="67" name="Marcador de contenido 2">
            <a:extLst>
              <a:ext uri="{FF2B5EF4-FFF2-40B4-BE49-F238E27FC236}">
                <a16:creationId xmlns:a16="http://schemas.microsoft.com/office/drawing/2014/main" id="{6C9FAEB1-3810-478C-840A-9D62FEDFB20D}"/>
              </a:ext>
            </a:extLst>
          </p:cNvPr>
          <p:cNvSpPr txBox="1">
            <a:spLocks/>
          </p:cNvSpPr>
          <p:nvPr/>
        </p:nvSpPr>
        <p:spPr>
          <a:xfrm>
            <a:off x="1960075" y="3042087"/>
            <a:ext cx="2507957" cy="1026320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</p:txBody>
      </p:sp>
      <p:sp>
        <p:nvSpPr>
          <p:cNvPr id="68" name="Marcador de contenido 2">
            <a:extLst>
              <a:ext uri="{FF2B5EF4-FFF2-40B4-BE49-F238E27FC236}">
                <a16:creationId xmlns:a16="http://schemas.microsoft.com/office/drawing/2014/main" id="{AEF0D607-8ECC-4362-A3C0-B6CB48E9469F}"/>
              </a:ext>
            </a:extLst>
          </p:cNvPr>
          <p:cNvSpPr txBox="1">
            <a:spLocks/>
          </p:cNvSpPr>
          <p:nvPr/>
        </p:nvSpPr>
        <p:spPr>
          <a:xfrm>
            <a:off x="1960072" y="4281635"/>
            <a:ext cx="2507957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2060"/>
              </a:buClr>
              <a:buNone/>
            </a:pPr>
            <a:r>
              <a:rPr lang="es-CR" sz="11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CR" sz="1100" dirty="0">
                <a:latin typeface="Abadi" panose="020B0604020104020204" pitchFamily="34" charset="0"/>
              </a:rPr>
              <a:t>Sin actividad</a:t>
            </a:r>
          </a:p>
        </p:txBody>
      </p:sp>
      <p:sp>
        <p:nvSpPr>
          <p:cNvPr id="69" name="Marcador de contenido 2">
            <a:extLst>
              <a:ext uri="{FF2B5EF4-FFF2-40B4-BE49-F238E27FC236}">
                <a16:creationId xmlns:a16="http://schemas.microsoft.com/office/drawing/2014/main" id="{2DB402FF-6B37-478C-BCFE-5804060C52EA}"/>
              </a:ext>
            </a:extLst>
          </p:cNvPr>
          <p:cNvSpPr txBox="1">
            <a:spLocks/>
          </p:cNvSpPr>
          <p:nvPr/>
        </p:nvSpPr>
        <p:spPr>
          <a:xfrm>
            <a:off x="4814807" y="4281635"/>
            <a:ext cx="2507961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  <a:p>
            <a:pPr marL="0" indent="0">
              <a:buNone/>
            </a:pPr>
            <a:endParaRPr lang="es-MX" sz="1200" dirty="0">
              <a:latin typeface="Abadi" panose="020B0604020104020204" pitchFamily="34" charset="0"/>
            </a:endParaRPr>
          </a:p>
        </p:txBody>
      </p:sp>
      <p:pic>
        <p:nvPicPr>
          <p:cNvPr id="70" name="Imagen 11">
            <a:extLst>
              <a:ext uri="{FF2B5EF4-FFF2-40B4-BE49-F238E27FC236}">
                <a16:creationId xmlns:a16="http://schemas.microsoft.com/office/drawing/2014/main" id="{451B553E-ED32-4F1D-A6FF-03C216BBB12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95" y="1747895"/>
            <a:ext cx="672955" cy="672955"/>
          </a:xfrm>
          <a:prstGeom prst="rect">
            <a:avLst/>
          </a:prstGeom>
        </p:spPr>
      </p:pic>
      <p:pic>
        <p:nvPicPr>
          <p:cNvPr id="71" name="Imagen 14">
            <a:extLst>
              <a:ext uri="{FF2B5EF4-FFF2-40B4-BE49-F238E27FC236}">
                <a16:creationId xmlns:a16="http://schemas.microsoft.com/office/drawing/2014/main" id="{2C069AEB-59AA-4C87-9A84-BA749CF3608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8" y="4731461"/>
            <a:ext cx="594850" cy="594850"/>
          </a:xfrm>
          <a:prstGeom prst="rect">
            <a:avLst/>
          </a:prstGeom>
        </p:spPr>
      </p:pic>
      <p:pic>
        <p:nvPicPr>
          <p:cNvPr id="72" name="Imagen 15">
            <a:extLst>
              <a:ext uri="{FF2B5EF4-FFF2-40B4-BE49-F238E27FC236}">
                <a16:creationId xmlns:a16="http://schemas.microsoft.com/office/drawing/2014/main" id="{DFAE6BED-7440-400D-BA2C-D6B241ACC46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95" y="3228641"/>
            <a:ext cx="653212" cy="653212"/>
          </a:xfrm>
          <a:prstGeom prst="rect">
            <a:avLst/>
          </a:prstGeom>
        </p:spPr>
      </p:pic>
      <p:sp>
        <p:nvSpPr>
          <p:cNvPr id="73" name="Marcador de contenido 2">
            <a:extLst>
              <a:ext uri="{FF2B5EF4-FFF2-40B4-BE49-F238E27FC236}">
                <a16:creationId xmlns:a16="http://schemas.microsoft.com/office/drawing/2014/main" id="{0FE48130-2DCC-4967-9041-99028F194917}"/>
              </a:ext>
            </a:extLst>
          </p:cNvPr>
          <p:cNvSpPr txBox="1">
            <a:spLocks/>
          </p:cNvSpPr>
          <p:nvPr/>
        </p:nvSpPr>
        <p:spPr>
          <a:xfrm>
            <a:off x="7714864" y="3042087"/>
            <a:ext cx="2516272" cy="1071946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</p:txBody>
      </p:sp>
      <p:sp>
        <p:nvSpPr>
          <p:cNvPr id="74" name="Marcador de contenido 2">
            <a:extLst>
              <a:ext uri="{FF2B5EF4-FFF2-40B4-BE49-F238E27FC236}">
                <a16:creationId xmlns:a16="http://schemas.microsoft.com/office/drawing/2014/main" id="{E014B9DE-E3C2-44BF-9EC0-757CACC94D4F}"/>
              </a:ext>
            </a:extLst>
          </p:cNvPr>
          <p:cNvSpPr txBox="1">
            <a:spLocks/>
          </p:cNvSpPr>
          <p:nvPr/>
        </p:nvSpPr>
        <p:spPr>
          <a:xfrm>
            <a:off x="4804948" y="3042087"/>
            <a:ext cx="2507168" cy="1071946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</p:txBody>
      </p:sp>
      <p:sp>
        <p:nvSpPr>
          <p:cNvPr id="75" name="Marcador de contenido 2">
            <a:extLst>
              <a:ext uri="{FF2B5EF4-FFF2-40B4-BE49-F238E27FC236}">
                <a16:creationId xmlns:a16="http://schemas.microsoft.com/office/drawing/2014/main" id="{29EBDD38-CE8F-4582-BCCB-E65D51FEF352}"/>
              </a:ext>
            </a:extLst>
          </p:cNvPr>
          <p:cNvSpPr txBox="1">
            <a:spLocks/>
          </p:cNvSpPr>
          <p:nvPr/>
        </p:nvSpPr>
        <p:spPr>
          <a:xfrm>
            <a:off x="7714860" y="4281635"/>
            <a:ext cx="2507961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. </a:t>
            </a:r>
          </a:p>
        </p:txBody>
      </p:sp>
      <p:sp>
        <p:nvSpPr>
          <p:cNvPr id="76" name="Marcador de contenido 2">
            <a:extLst>
              <a:ext uri="{FF2B5EF4-FFF2-40B4-BE49-F238E27FC236}">
                <a16:creationId xmlns:a16="http://schemas.microsoft.com/office/drawing/2014/main" id="{D5959A5B-6FD9-44E2-AD34-59EABB03BAD5}"/>
              </a:ext>
            </a:extLst>
          </p:cNvPr>
          <p:cNvSpPr txBox="1">
            <a:spLocks/>
          </p:cNvSpPr>
          <p:nvPr/>
        </p:nvSpPr>
        <p:spPr>
          <a:xfrm>
            <a:off x="4807516" y="1345124"/>
            <a:ext cx="2507168" cy="1471315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</p:txBody>
      </p:sp>
      <p:sp>
        <p:nvSpPr>
          <p:cNvPr id="78" name="Marcador de contenido 2">
            <a:extLst>
              <a:ext uri="{FF2B5EF4-FFF2-40B4-BE49-F238E27FC236}">
                <a16:creationId xmlns:a16="http://schemas.microsoft.com/office/drawing/2014/main" id="{55D8C8E5-6315-4B11-8790-09790CA96B06}"/>
              </a:ext>
            </a:extLst>
          </p:cNvPr>
          <p:cNvSpPr txBox="1">
            <a:spLocks/>
          </p:cNvSpPr>
          <p:nvPr/>
        </p:nvSpPr>
        <p:spPr>
          <a:xfrm>
            <a:off x="7717435" y="1345124"/>
            <a:ext cx="2507957" cy="1471315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endParaRPr lang="es-MX" sz="1200" dirty="0">
              <a:latin typeface="Abadi" panose="020B0604020104020204" pitchFamily="34" charset="0"/>
            </a:endParaRPr>
          </a:p>
        </p:txBody>
      </p:sp>
      <p:sp>
        <p:nvSpPr>
          <p:cNvPr id="80" name="Marcador de contenido 2">
            <a:extLst>
              <a:ext uri="{FF2B5EF4-FFF2-40B4-BE49-F238E27FC236}">
                <a16:creationId xmlns:a16="http://schemas.microsoft.com/office/drawing/2014/main" id="{69D9BD66-246A-41B3-9527-9B47AF61F6ED}"/>
              </a:ext>
            </a:extLst>
          </p:cNvPr>
          <p:cNvSpPr txBox="1">
            <a:spLocks/>
          </p:cNvSpPr>
          <p:nvPr/>
        </p:nvSpPr>
        <p:spPr>
          <a:xfrm>
            <a:off x="1960076" y="1352305"/>
            <a:ext cx="2507957" cy="1464134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pPr>
              <a:buFontTx/>
              <a:buChar char="-"/>
            </a:pPr>
            <a:r>
              <a:rPr lang="es-MX" sz="1200" dirty="0">
                <a:latin typeface="Abadi" panose="020B0604020104020204" pitchFamily="34" charset="0"/>
              </a:rPr>
              <a:t>Pauta en HCH revista Que Viva La Vida, reforzado por Cine de Cines en Canal 5, los dias sábados.</a:t>
            </a:r>
          </a:p>
          <a:p>
            <a:pPr>
              <a:buFontTx/>
              <a:buChar char="-"/>
            </a:pPr>
            <a:r>
              <a:rPr lang="es-MX" sz="1200" dirty="0">
                <a:latin typeface="Abadi" panose="020B0604020104020204" pitchFamily="34" charset="0"/>
              </a:rPr>
              <a:t>Alcances : Msj 55| Trp’s 339 | COE 1.0</a:t>
            </a:r>
          </a:p>
        </p:txBody>
      </p:sp>
      <p:sp>
        <p:nvSpPr>
          <p:cNvPr id="81" name="Marcador de contenido 2">
            <a:extLst>
              <a:ext uri="{FF2B5EF4-FFF2-40B4-BE49-F238E27FC236}">
                <a16:creationId xmlns:a16="http://schemas.microsoft.com/office/drawing/2014/main" id="{C4640BF2-1194-4F37-9A26-5FCA45345626}"/>
              </a:ext>
            </a:extLst>
          </p:cNvPr>
          <p:cNvSpPr txBox="1">
            <a:spLocks/>
          </p:cNvSpPr>
          <p:nvPr/>
        </p:nvSpPr>
        <p:spPr>
          <a:xfrm>
            <a:off x="4800600" y="5942505"/>
            <a:ext cx="2511517" cy="779403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. </a:t>
            </a:r>
          </a:p>
          <a:p>
            <a:pPr marL="0" indent="0">
              <a:buNone/>
            </a:pPr>
            <a:endParaRPr lang="es-MX" sz="1200" dirty="0">
              <a:latin typeface="Abadi" panose="020B0604020104020204" pitchFamily="34" charset="0"/>
            </a:endParaRPr>
          </a:p>
        </p:txBody>
      </p:sp>
      <p:pic>
        <p:nvPicPr>
          <p:cNvPr id="82" name="Imagen 2">
            <a:extLst>
              <a:ext uri="{FF2B5EF4-FFF2-40B4-BE49-F238E27FC236}">
                <a16:creationId xmlns:a16="http://schemas.microsoft.com/office/drawing/2014/main" id="{88859596-E568-4A8A-AAB7-A7377F7FDFC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8" y="5971987"/>
            <a:ext cx="674242" cy="674242"/>
          </a:xfrm>
          <a:prstGeom prst="rect">
            <a:avLst/>
          </a:prstGeom>
        </p:spPr>
      </p:pic>
      <p:sp>
        <p:nvSpPr>
          <p:cNvPr id="83" name="Marcador de contenido 2">
            <a:extLst>
              <a:ext uri="{FF2B5EF4-FFF2-40B4-BE49-F238E27FC236}">
                <a16:creationId xmlns:a16="http://schemas.microsoft.com/office/drawing/2014/main" id="{ECACCD17-3A10-4924-A6CB-17729ADBDC3A}"/>
              </a:ext>
            </a:extLst>
          </p:cNvPr>
          <p:cNvSpPr txBox="1">
            <a:spLocks/>
          </p:cNvSpPr>
          <p:nvPr/>
        </p:nvSpPr>
        <p:spPr>
          <a:xfrm>
            <a:off x="1958009" y="5942505"/>
            <a:ext cx="2510020" cy="779403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</p:txBody>
      </p:sp>
      <p:sp>
        <p:nvSpPr>
          <p:cNvPr id="84" name="Marcador de contenido 2">
            <a:extLst>
              <a:ext uri="{FF2B5EF4-FFF2-40B4-BE49-F238E27FC236}">
                <a16:creationId xmlns:a16="http://schemas.microsoft.com/office/drawing/2014/main" id="{A704B52E-2930-4AD0-9DB1-C6523E331A6D}"/>
              </a:ext>
            </a:extLst>
          </p:cNvPr>
          <p:cNvSpPr txBox="1">
            <a:spLocks/>
          </p:cNvSpPr>
          <p:nvPr/>
        </p:nvSpPr>
        <p:spPr>
          <a:xfrm>
            <a:off x="7714860" y="5942505"/>
            <a:ext cx="2516272" cy="751909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2AFF7E7-B8AF-AC41-955C-E04F60F44884}"/>
              </a:ext>
            </a:extLst>
          </p:cNvPr>
          <p:cNvSpPr txBox="1"/>
          <p:nvPr/>
        </p:nvSpPr>
        <p:spPr>
          <a:xfrm>
            <a:off x="10602686" y="164737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HN" dirty="0"/>
          </a:p>
        </p:txBody>
      </p:sp>
    </p:spTree>
    <p:extLst>
      <p:ext uri="{BB962C8B-B14F-4D97-AF65-F5344CB8AC3E}">
        <p14:creationId xmlns:p14="http://schemas.microsoft.com/office/powerpoint/2010/main" val="2674403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A66843B-C54E-4A68-84F5-289CC97225A7}"/>
              </a:ext>
            </a:extLst>
          </p:cNvPr>
          <p:cNvSpPr/>
          <p:nvPr/>
        </p:nvSpPr>
        <p:spPr>
          <a:xfrm>
            <a:off x="8527333" y="4268136"/>
            <a:ext cx="998979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aphicFrame>
        <p:nvGraphicFramePr>
          <p:cNvPr id="42" name="Marcador de contenido 10">
            <a:extLst>
              <a:ext uri="{FF2B5EF4-FFF2-40B4-BE49-F238E27FC236}">
                <a16:creationId xmlns:a16="http://schemas.microsoft.com/office/drawing/2014/main" id="{D56C3FD9-F7AF-421C-BBFF-8C2B0C4F685B}"/>
              </a:ext>
            </a:extLst>
          </p:cNvPr>
          <p:cNvGraphicFramePr>
            <a:graphicFrameLocks/>
          </p:cNvGraphicFramePr>
          <p:nvPr/>
        </p:nvGraphicFramePr>
        <p:xfrm>
          <a:off x="5871868" y="4172806"/>
          <a:ext cx="6319340" cy="2572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23390A8-F290-43A7-9F96-E609942B5670}"/>
              </a:ext>
            </a:extLst>
          </p:cNvPr>
          <p:cNvSpPr/>
          <p:nvPr/>
        </p:nvSpPr>
        <p:spPr>
          <a:xfrm>
            <a:off x="2466999" y="4260466"/>
            <a:ext cx="90816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D3A9D05-F844-431B-BCAC-44C0143702CC}"/>
              </a:ext>
            </a:extLst>
          </p:cNvPr>
          <p:cNvSpPr/>
          <p:nvPr/>
        </p:nvSpPr>
        <p:spPr>
          <a:xfrm>
            <a:off x="8449036" y="827087"/>
            <a:ext cx="120876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040C8B7-2A6E-412B-9010-BE3A5BB222EA}"/>
              </a:ext>
            </a:extLst>
          </p:cNvPr>
          <p:cNvSpPr/>
          <p:nvPr/>
        </p:nvSpPr>
        <p:spPr>
          <a:xfrm>
            <a:off x="2137383" y="839328"/>
            <a:ext cx="2850204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526" y="-8159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MICÓTICOS V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5871868" y="-56288"/>
            <a:ext cx="0" cy="69827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4154266"/>
            <a:ext cx="12221107" cy="10448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21" name="Gráfico 16">
            <a:extLst>
              <a:ext uri="{FF2B5EF4-FFF2-40B4-BE49-F238E27FC236}">
                <a16:creationId xmlns:a16="http://schemas.microsoft.com/office/drawing/2014/main" id="{9614D2A4-6A3E-4675-BF63-453B74AC72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49126984"/>
              </p:ext>
            </p:extLst>
          </p:nvPr>
        </p:nvGraphicFramePr>
        <p:xfrm>
          <a:off x="5943595" y="739677"/>
          <a:ext cx="6246693" cy="3414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68A1F49-03A0-40BB-B4C3-C4CB8AC72F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73956773"/>
              </p:ext>
            </p:extLst>
          </p:nvPr>
        </p:nvGraphicFramePr>
        <p:xfrm>
          <a:off x="1149214" y="826898"/>
          <a:ext cx="4702598" cy="2271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785628DB-99DF-4C03-B512-C43CDD204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28612397"/>
              </p:ext>
            </p:extLst>
          </p:nvPr>
        </p:nvGraphicFramePr>
        <p:xfrm>
          <a:off x="2049881" y="2816225"/>
          <a:ext cx="3783013" cy="134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3" name="Hoja de cálculo" r:id="rId8" imgW="4076700" imgH="1346200" progId="Excel.Sheet.12">
                  <p:embed/>
                </p:oleObj>
              </mc:Choice>
              <mc:Fallback>
                <p:oleObj name="Hoja de cálculo" r:id="rId8" imgW="4076700" imgH="1346200" progId="Excel.Sheet.12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785628DB-99DF-4C03-B512-C43CDD204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49881" y="2816225"/>
                        <a:ext cx="3783013" cy="1346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748B412C-65AF-401C-A123-954C9807BA5A}"/>
              </a:ext>
            </a:extLst>
          </p:cNvPr>
          <p:cNvGraphicFramePr/>
          <p:nvPr/>
        </p:nvGraphicFramePr>
        <p:xfrm>
          <a:off x="-29107" y="4172807"/>
          <a:ext cx="5900972" cy="2685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7" name="Object 36">
            <a:extLst>
              <a:ext uri="{FF2B5EF4-FFF2-40B4-BE49-F238E27FC236}">
                <a16:creationId xmlns:a16="http://schemas.microsoft.com/office/drawing/2014/main" id="{E3329616-4A16-4E9F-BC32-F9AE170E7E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69799785"/>
              </p:ext>
            </p:extLst>
          </p:nvPr>
        </p:nvGraphicFramePr>
        <p:xfrm>
          <a:off x="6407150" y="1119188"/>
          <a:ext cx="5783263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4" name="Hoja de cálculo" r:id="rId11" imgW="4432300" imgH="215900" progId="Excel.Sheet.12">
                  <p:embed/>
                </p:oleObj>
              </mc:Choice>
              <mc:Fallback>
                <p:oleObj name="Hoja de cálculo" r:id="rId11" imgW="4432300" imgH="215900" progId="Excel.Sheet.12">
                  <p:embed/>
                  <p:pic>
                    <p:nvPicPr>
                      <p:cNvPr id="37" name="Object 36">
                        <a:extLst>
                          <a:ext uri="{FF2B5EF4-FFF2-40B4-BE49-F238E27FC236}">
                            <a16:creationId xmlns:a16="http://schemas.microsoft.com/office/drawing/2014/main" id="{E3329616-4A16-4E9F-BC32-F9AE170E7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6407150" y="1119188"/>
                        <a:ext cx="5783263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1">
            <a:extLst>
              <a:ext uri="{FF2B5EF4-FFF2-40B4-BE49-F238E27FC236}">
                <a16:creationId xmlns:a16="http://schemas.microsoft.com/office/drawing/2014/main" id="{55443EAC-93D8-4F92-BFE3-F3628EEB10E7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M 12-25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, 2024 </a:t>
            </a:r>
          </a:p>
        </p:txBody>
      </p:sp>
      <p:pic>
        <p:nvPicPr>
          <p:cNvPr id="45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8CE7A3EC-D360-4CEC-8CF0-14ED42C099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59436C7B-7335-495D-AC94-9D0DC397E2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a 3">
            <a:extLst>
              <a:ext uri="{FF2B5EF4-FFF2-40B4-BE49-F238E27FC236}">
                <a16:creationId xmlns:a16="http://schemas.microsoft.com/office/drawing/2014/main" id="{449A8407-ECBA-1742-BA26-66D819954CFC}"/>
              </a:ext>
            </a:extLst>
          </p:cNvPr>
          <p:cNvGraphicFramePr>
            <a:graphicFrameLocks noGrp="1"/>
          </p:cNvGraphicFramePr>
          <p:nvPr/>
        </p:nvGraphicFramePr>
        <p:xfrm>
          <a:off x="474353" y="983019"/>
          <a:ext cx="632459" cy="1775549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32459">
                  <a:extLst>
                    <a:ext uri="{9D8B030D-6E8A-4147-A177-3AD203B41FA5}">
                      <a16:colId xmlns:a16="http://schemas.microsoft.com/office/drawing/2014/main" val="1185865620"/>
                    </a:ext>
                  </a:extLst>
                </a:gridCol>
              </a:tblGrid>
              <a:tr h="539177">
                <a:tc>
                  <a:txBody>
                    <a:bodyPr/>
                    <a:lstStyle/>
                    <a:p>
                      <a:pPr algn="ctr"/>
                      <a:r>
                        <a:rPr lang="es-HN" sz="1200" dirty="0">
                          <a:latin typeface="Abadi MT Condensed Light" panose="020B0306030101010103" pitchFamily="34" charset="77"/>
                        </a:rPr>
                        <a:t>SO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884866"/>
                  </a:ext>
                </a:extLst>
              </a:tr>
              <a:tr h="1236372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10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95767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5761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26">
            <a:extLst>
              <a:ext uri="{FF2B5EF4-FFF2-40B4-BE49-F238E27FC236}">
                <a16:creationId xmlns:a16="http://schemas.microsoft.com/office/drawing/2014/main" id="{67BEC9DA-EBC2-724A-9792-EC4FAF82BDD1}"/>
              </a:ext>
            </a:extLst>
          </p:cNvPr>
          <p:cNvGraphicFramePr/>
          <p:nvPr/>
        </p:nvGraphicFramePr>
        <p:xfrm>
          <a:off x="4253578" y="770219"/>
          <a:ext cx="4343334" cy="2810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8DA2D12-8206-4D3D-9493-AF5446A62F01}"/>
              </a:ext>
            </a:extLst>
          </p:cNvPr>
          <p:cNvSpPr/>
          <p:nvPr/>
        </p:nvSpPr>
        <p:spPr>
          <a:xfrm>
            <a:off x="461730" y="829674"/>
            <a:ext cx="2729738" cy="17253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aphicFrame>
        <p:nvGraphicFramePr>
          <p:cNvPr id="36" name="Chart 26">
            <a:extLst>
              <a:ext uri="{FF2B5EF4-FFF2-40B4-BE49-F238E27FC236}">
                <a16:creationId xmlns:a16="http://schemas.microsoft.com/office/drawing/2014/main" id="{416E917E-5749-0A45-BCBE-AFD292CB36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75090308"/>
              </p:ext>
            </p:extLst>
          </p:nvPr>
        </p:nvGraphicFramePr>
        <p:xfrm>
          <a:off x="79906" y="741481"/>
          <a:ext cx="3424622" cy="2810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8374521-8765-48E6-BD6E-29F7A80E3004}"/>
              </a:ext>
            </a:extLst>
          </p:cNvPr>
          <p:cNvSpPr/>
          <p:nvPr/>
        </p:nvSpPr>
        <p:spPr>
          <a:xfrm>
            <a:off x="9585751" y="816644"/>
            <a:ext cx="176975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6F8AB4D-EADF-4793-B39F-087293A0A55C}"/>
              </a:ext>
            </a:extLst>
          </p:cNvPr>
          <p:cNvSpPr/>
          <p:nvPr/>
        </p:nvSpPr>
        <p:spPr>
          <a:xfrm>
            <a:off x="6105939" y="3714742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A51F7E7F-3005-452B-A37E-6345C488012C}"/>
              </a:ext>
            </a:extLst>
          </p:cNvPr>
          <p:cNvSpPr/>
          <p:nvPr/>
        </p:nvSpPr>
        <p:spPr>
          <a:xfrm>
            <a:off x="1463022" y="3714440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55" y="-8437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MICÓTICOS V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CE1A38D-B15D-44B8-8B16-ADBCF0FB153A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12-25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 2024 </a:t>
            </a:r>
          </a:p>
        </p:txBody>
      </p:sp>
      <p:pic>
        <p:nvPicPr>
          <p:cNvPr id="1026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FEEED1DF-8648-4950-89EB-7A9954C08F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27533FF8-4632-48D4-ADB0-357699504C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4321365" y="687166"/>
            <a:ext cx="0" cy="292367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3608125"/>
            <a:ext cx="1237037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6592C3A-4914-420B-9823-54E1CEF44AEF}"/>
              </a:ext>
            </a:extLst>
          </p:cNvPr>
          <p:cNvSpPr/>
          <p:nvPr/>
        </p:nvSpPr>
        <p:spPr>
          <a:xfrm>
            <a:off x="5817753" y="826636"/>
            <a:ext cx="146260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latin typeface="Abadi MT Condensed Extra Bold" panose="020B0306030101010103" pitchFamily="34" charset="77"/>
              </a:rPr>
              <a:t>TV CATEGOR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483B254-E4F6-40A3-9B23-E4A24DF0AC0D}"/>
              </a:ext>
            </a:extLst>
          </p:cNvPr>
          <p:cNvSpPr txBox="1"/>
          <p:nvPr/>
        </p:nvSpPr>
        <p:spPr>
          <a:xfrm>
            <a:off x="817038" y="3663238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NEW CREATIV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D43246-8B24-4048-847D-87FACD838830}"/>
              </a:ext>
            </a:extLst>
          </p:cNvPr>
          <p:cNvSpPr txBox="1"/>
          <p:nvPr/>
        </p:nvSpPr>
        <p:spPr>
          <a:xfrm>
            <a:off x="5441913" y="3663237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OP CREATIVES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61D8F93-DC41-4187-9DDC-CAF216947808}"/>
              </a:ext>
            </a:extLst>
          </p:cNvPr>
          <p:cNvCxnSpPr>
            <a:cxnSpLocks/>
          </p:cNvCxnSpPr>
          <p:nvPr/>
        </p:nvCxnSpPr>
        <p:spPr>
          <a:xfrm>
            <a:off x="4553687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7B3C51B-B8A4-4BA3-B6F8-D38845A5B52C}"/>
              </a:ext>
            </a:extLst>
          </p:cNvPr>
          <p:cNvCxnSpPr>
            <a:cxnSpLocks/>
          </p:cNvCxnSpPr>
          <p:nvPr/>
        </p:nvCxnSpPr>
        <p:spPr>
          <a:xfrm>
            <a:off x="9315795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125F62A-9C20-4B7B-9329-07AF495224FD}"/>
              </a:ext>
            </a:extLst>
          </p:cNvPr>
          <p:cNvSpPr txBox="1"/>
          <p:nvPr/>
        </p:nvSpPr>
        <p:spPr>
          <a:xfrm>
            <a:off x="9360100" y="3634864"/>
            <a:ext cx="273775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>
                <a:latin typeface="Abadi" panose="020B0604020104020204" pitchFamily="34" charset="0"/>
              </a:rPr>
              <a:t>Aprendizajes: </a:t>
            </a:r>
          </a:p>
          <a:p>
            <a:r>
              <a:rPr lang="es-HN" sz="1200" b="0" i="0" dirty="0">
                <a:solidFill>
                  <a:srgbClr val="0D0D0D"/>
                </a:solidFill>
                <a:effectLst/>
                <a:latin typeface="Söhne"/>
              </a:rPr>
              <a:t>Hasta el mes de mayo, Canesten es la única marca de la categoría que tiene actividad publicitaria. No se registran campañas de otras marcas en este periodo.</a:t>
            </a:r>
            <a:endParaRPr lang="es-MX" sz="1200" dirty="0">
              <a:latin typeface="Abadi" panose="020B0604020104020204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1AB5A22-D25F-4A53-8305-C43193081AA7}"/>
              </a:ext>
            </a:extLst>
          </p:cNvPr>
          <p:cNvCxnSpPr>
            <a:cxnSpLocks/>
          </p:cNvCxnSpPr>
          <p:nvPr/>
        </p:nvCxnSpPr>
        <p:spPr>
          <a:xfrm>
            <a:off x="8719463" y="-194425"/>
            <a:ext cx="0" cy="3809329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65" name="Chart 64">
            <a:extLst>
              <a:ext uri="{FF2B5EF4-FFF2-40B4-BE49-F238E27FC236}">
                <a16:creationId xmlns:a16="http://schemas.microsoft.com/office/drawing/2014/main" id="{F99528B7-E46E-4001-AE6D-7F23D6E80072}"/>
              </a:ext>
            </a:extLst>
          </p:cNvPr>
          <p:cNvGraphicFramePr/>
          <p:nvPr/>
        </p:nvGraphicFramePr>
        <p:xfrm>
          <a:off x="8838592" y="766416"/>
          <a:ext cx="3450769" cy="2790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37" name="Tabla 10">
            <a:extLst>
              <a:ext uri="{FF2B5EF4-FFF2-40B4-BE49-F238E27FC236}">
                <a16:creationId xmlns:a16="http://schemas.microsoft.com/office/drawing/2014/main" id="{2226B105-37B7-D04A-8D44-C8B84C558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080371"/>
              </p:ext>
            </p:extLst>
          </p:nvPr>
        </p:nvGraphicFramePr>
        <p:xfrm>
          <a:off x="3381060" y="855315"/>
          <a:ext cx="939512" cy="1958912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469756">
                  <a:extLst>
                    <a:ext uri="{9D8B030D-6E8A-4147-A177-3AD203B41FA5}">
                      <a16:colId xmlns:a16="http://schemas.microsoft.com/office/drawing/2014/main" val="3008694403"/>
                    </a:ext>
                  </a:extLst>
                </a:gridCol>
                <a:gridCol w="469756">
                  <a:extLst>
                    <a:ext uri="{9D8B030D-6E8A-4147-A177-3AD203B41FA5}">
                      <a16:colId xmlns:a16="http://schemas.microsoft.com/office/drawing/2014/main" val="2769427833"/>
                    </a:ext>
                  </a:extLst>
                </a:gridCol>
              </a:tblGrid>
              <a:tr h="666124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Grp’s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SOV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843301"/>
                  </a:ext>
                </a:extLst>
              </a:tr>
              <a:tr h="1292788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2,69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10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4059227"/>
                  </a:ext>
                </a:extLst>
              </a:tr>
            </a:tbl>
          </a:graphicData>
        </a:graphic>
      </p:graphicFrame>
      <p:graphicFrame>
        <p:nvGraphicFramePr>
          <p:cNvPr id="28" name="Tabla 12">
            <a:extLst>
              <a:ext uri="{FF2B5EF4-FFF2-40B4-BE49-F238E27FC236}">
                <a16:creationId xmlns:a16="http://schemas.microsoft.com/office/drawing/2014/main" id="{A15A3829-E116-ED4F-A23C-9FF9718A88CC}"/>
              </a:ext>
            </a:extLst>
          </p:cNvPr>
          <p:cNvGraphicFramePr>
            <a:graphicFrameLocks noGrp="1"/>
          </p:cNvGraphicFramePr>
          <p:nvPr/>
        </p:nvGraphicFramePr>
        <p:xfrm>
          <a:off x="699559" y="3104009"/>
          <a:ext cx="93059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5296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465296">
                  <a:extLst>
                    <a:ext uri="{9D8B030D-6E8A-4147-A177-3AD203B41FA5}">
                      <a16:colId xmlns:a16="http://schemas.microsoft.com/office/drawing/2014/main" val="1213778197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58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42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30" name="Tabla 12">
            <a:extLst>
              <a:ext uri="{FF2B5EF4-FFF2-40B4-BE49-F238E27FC236}">
                <a16:creationId xmlns:a16="http://schemas.microsoft.com/office/drawing/2014/main" id="{1178BE10-8AD9-A24F-BAF7-6E46C00C03A1}"/>
              </a:ext>
            </a:extLst>
          </p:cNvPr>
          <p:cNvGraphicFramePr>
            <a:graphicFrameLocks noGrp="1"/>
          </p:cNvGraphicFramePr>
          <p:nvPr/>
        </p:nvGraphicFramePr>
        <p:xfrm>
          <a:off x="4882493" y="3185160"/>
          <a:ext cx="3789345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7869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757869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757869">
                  <a:extLst>
                    <a:ext uri="{9D8B030D-6E8A-4147-A177-3AD203B41FA5}">
                      <a16:colId xmlns:a16="http://schemas.microsoft.com/office/drawing/2014/main" val="2289583996"/>
                    </a:ext>
                  </a:extLst>
                </a:gridCol>
                <a:gridCol w="757869">
                  <a:extLst>
                    <a:ext uri="{9D8B030D-6E8A-4147-A177-3AD203B41FA5}">
                      <a16:colId xmlns:a16="http://schemas.microsoft.com/office/drawing/2014/main" val="740861626"/>
                    </a:ext>
                  </a:extLst>
                </a:gridCol>
                <a:gridCol w="757869">
                  <a:extLst>
                    <a:ext uri="{9D8B030D-6E8A-4147-A177-3AD203B41FA5}">
                      <a16:colId xmlns:a16="http://schemas.microsoft.com/office/drawing/2014/main" val="1082390930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58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42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31" name="Tabla 12">
            <a:extLst>
              <a:ext uri="{FF2B5EF4-FFF2-40B4-BE49-F238E27FC236}">
                <a16:creationId xmlns:a16="http://schemas.microsoft.com/office/drawing/2014/main" id="{8BFCDFA9-34C9-0747-ACD3-317D5E8AAFA9}"/>
              </a:ext>
            </a:extLst>
          </p:cNvPr>
          <p:cNvGraphicFramePr>
            <a:graphicFrameLocks noGrp="1"/>
          </p:cNvGraphicFramePr>
          <p:nvPr/>
        </p:nvGraphicFramePr>
        <p:xfrm>
          <a:off x="9156012" y="3152803"/>
          <a:ext cx="281592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82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703982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703982">
                  <a:extLst>
                    <a:ext uri="{9D8B030D-6E8A-4147-A177-3AD203B41FA5}">
                      <a16:colId xmlns:a16="http://schemas.microsoft.com/office/drawing/2014/main" val="2289583996"/>
                    </a:ext>
                  </a:extLst>
                </a:gridCol>
                <a:gridCol w="703982">
                  <a:extLst>
                    <a:ext uri="{9D8B030D-6E8A-4147-A177-3AD203B41FA5}">
                      <a16:colId xmlns:a16="http://schemas.microsoft.com/office/drawing/2014/main" val="740861626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34%</a:t>
                      </a:r>
                      <a:endParaRPr lang="es-HN" sz="1000" b="0" dirty="0">
                        <a:solidFill>
                          <a:schemeClr val="tx1"/>
                        </a:solidFill>
                        <a:latin typeface="Abadi MT Condensed Light" panose="020B0306030101010103" pitchFamily="34" charset="77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6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2462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ectangle: Rounded Corners 66">
            <a:extLst>
              <a:ext uri="{FF2B5EF4-FFF2-40B4-BE49-F238E27FC236}">
                <a16:creationId xmlns:a16="http://schemas.microsoft.com/office/drawing/2014/main" id="{9D49F6C6-87A8-44F7-B9CC-C9DF132D9E92}"/>
              </a:ext>
            </a:extLst>
          </p:cNvPr>
          <p:cNvSpPr/>
          <p:nvPr/>
        </p:nvSpPr>
        <p:spPr>
          <a:xfrm>
            <a:off x="9611107" y="611455"/>
            <a:ext cx="2141401" cy="22590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71E15358-3CFC-4082-B252-F2C3F7432153}"/>
              </a:ext>
            </a:extLst>
          </p:cNvPr>
          <p:cNvSpPr/>
          <p:nvPr/>
        </p:nvSpPr>
        <p:spPr>
          <a:xfrm>
            <a:off x="3332726" y="1252029"/>
            <a:ext cx="2355541" cy="22590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2616" y="181938"/>
            <a:ext cx="10798461" cy="864000"/>
          </a:xfrm>
        </p:spPr>
        <p:txBody>
          <a:bodyPr>
            <a:normAutofit/>
          </a:bodyPr>
          <a:lstStyle/>
          <a:p>
            <a:r>
              <a:rPr lang="de-CH" sz="3600" dirty="0">
                <a:latin typeface="Abadi" panose="020B0604020104020204" pitchFamily="34" charset="0"/>
              </a:rPr>
              <a:t>Summary Bayer Categories</a:t>
            </a: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14C6C6C-BB98-4C5E-BA77-2A561F47B3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584879"/>
              </p:ext>
            </p:extLst>
          </p:nvPr>
        </p:nvGraphicFramePr>
        <p:xfrm>
          <a:off x="140041" y="4541387"/>
          <a:ext cx="1140248" cy="988944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863569">
                  <a:extLst>
                    <a:ext uri="{9D8B030D-6E8A-4147-A177-3AD203B41FA5}">
                      <a16:colId xmlns:a16="http://schemas.microsoft.com/office/drawing/2014/main" val="4154813611"/>
                    </a:ext>
                  </a:extLst>
                </a:gridCol>
                <a:gridCol w="276679">
                  <a:extLst>
                    <a:ext uri="{9D8B030D-6E8A-4147-A177-3AD203B41FA5}">
                      <a16:colId xmlns:a16="http://schemas.microsoft.com/office/drawing/2014/main" val="3006228154"/>
                    </a:ext>
                  </a:extLst>
                </a:gridCol>
              </a:tblGrid>
              <a:tr h="217888"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Vitaflenaco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22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2584150"/>
                  </a:ext>
                </a:extLst>
              </a:tr>
              <a:tr h="2178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X Ray Do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18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1242543"/>
                  </a:ext>
                </a:extLst>
              </a:tr>
              <a:tr h="2178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Alivio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13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095025"/>
                  </a:ext>
                </a:extLst>
              </a:tr>
              <a:tr h="21195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Acet Bayer(pos 9)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Alve (pos 11)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3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3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801849"/>
                  </a:ext>
                </a:extLst>
              </a:tr>
            </a:tbl>
          </a:graphicData>
        </a:graphic>
      </p:graphicFrame>
      <p:graphicFrame>
        <p:nvGraphicFramePr>
          <p:cNvPr id="46" name="Table 3">
            <a:extLst>
              <a:ext uri="{FF2B5EF4-FFF2-40B4-BE49-F238E27FC236}">
                <a16:creationId xmlns:a16="http://schemas.microsoft.com/office/drawing/2014/main" id="{CE8824EF-D38B-4443-979D-E1AF93CC34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1719405"/>
              </p:ext>
            </p:extLst>
          </p:nvPr>
        </p:nvGraphicFramePr>
        <p:xfrm>
          <a:off x="5973729" y="4552881"/>
          <a:ext cx="1110298" cy="8534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719455">
                  <a:extLst>
                    <a:ext uri="{9D8B030D-6E8A-4147-A177-3AD203B41FA5}">
                      <a16:colId xmlns:a16="http://schemas.microsoft.com/office/drawing/2014/main" val="4154813611"/>
                    </a:ext>
                  </a:extLst>
                </a:gridCol>
                <a:gridCol w="390843">
                  <a:extLst>
                    <a:ext uri="{9D8B030D-6E8A-4147-A177-3AD203B41FA5}">
                      <a16:colId xmlns:a16="http://schemas.microsoft.com/office/drawing/2014/main" val="30062281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Alka Seltzer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86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5841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Pepto Bismo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 11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12425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Sal Andrew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 2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0950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Gelosa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 1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801849"/>
                  </a:ext>
                </a:extLst>
              </a:tr>
            </a:tbl>
          </a:graphicData>
        </a:graphic>
      </p:graphicFrame>
      <p:graphicFrame>
        <p:nvGraphicFramePr>
          <p:cNvPr id="47" name="Table 3">
            <a:extLst>
              <a:ext uri="{FF2B5EF4-FFF2-40B4-BE49-F238E27FC236}">
                <a16:creationId xmlns:a16="http://schemas.microsoft.com/office/drawing/2014/main" id="{F97DA5B8-7B3E-42E2-B668-FBEB4CED7D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0271817"/>
              </p:ext>
            </p:extLst>
          </p:nvPr>
        </p:nvGraphicFramePr>
        <p:xfrm>
          <a:off x="1333001" y="4541387"/>
          <a:ext cx="1110298" cy="97536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719455">
                  <a:extLst>
                    <a:ext uri="{9D8B030D-6E8A-4147-A177-3AD203B41FA5}">
                      <a16:colId xmlns:a16="http://schemas.microsoft.com/office/drawing/2014/main" val="4154813611"/>
                    </a:ext>
                  </a:extLst>
                </a:gridCol>
                <a:gridCol w="390843">
                  <a:extLst>
                    <a:ext uri="{9D8B030D-6E8A-4147-A177-3AD203B41FA5}">
                      <a16:colId xmlns:a16="http://schemas.microsoft.com/office/drawing/2014/main" val="30062281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Gripexi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19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25841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Mentolina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16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12425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Tosa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15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0950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Tabcin (pos 5)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9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800" b="0" dirty="0">
                        <a:latin typeface="Abadi MT Condensed Light" panose="020B0306030101010103" pitchFamily="34" charset="77"/>
                      </a:endParaRP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801849"/>
                  </a:ext>
                </a:extLst>
              </a:tr>
            </a:tbl>
          </a:graphicData>
        </a:graphic>
      </p:graphicFrame>
      <p:graphicFrame>
        <p:nvGraphicFramePr>
          <p:cNvPr id="53" name="Table 3">
            <a:extLst>
              <a:ext uri="{FF2B5EF4-FFF2-40B4-BE49-F238E27FC236}">
                <a16:creationId xmlns:a16="http://schemas.microsoft.com/office/drawing/2014/main" id="{1F1829AC-19B5-4685-B8E1-3D562D39B5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2498378"/>
              </p:ext>
            </p:extLst>
          </p:nvPr>
        </p:nvGraphicFramePr>
        <p:xfrm>
          <a:off x="8280497" y="4557425"/>
          <a:ext cx="1271209" cy="8534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920411">
                  <a:extLst>
                    <a:ext uri="{9D8B030D-6E8A-4147-A177-3AD203B41FA5}">
                      <a16:colId xmlns:a16="http://schemas.microsoft.com/office/drawing/2014/main" val="4154813611"/>
                    </a:ext>
                  </a:extLst>
                </a:gridCol>
                <a:gridCol w="350798">
                  <a:extLst>
                    <a:ext uri="{9D8B030D-6E8A-4147-A177-3AD203B41FA5}">
                      <a16:colId xmlns:a16="http://schemas.microsoft.com/office/drawing/2014/main" val="30062281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" panose="020B0604020104020204" pitchFamily="34" charset="0"/>
                        </a:rPr>
                        <a:t>Canesten V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sz="700" b="0" dirty="0">
                          <a:latin typeface="Abadi" panose="020B0604020104020204" pitchFamily="34" charset="0"/>
                        </a:rPr>
                        <a:t>100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5841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700" b="0" dirty="0">
                        <a:latin typeface="Abadi" panose="020B0604020104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800" b="0" dirty="0">
                        <a:latin typeface="Abadi" panose="020B0604020104020204" pitchFamily="34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12425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800" b="0" dirty="0">
                        <a:latin typeface="Abadi" panose="020B0604020104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800" b="0" dirty="0">
                        <a:latin typeface="Abadi" panose="020B0604020104020204" pitchFamily="34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0950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800" b="0" dirty="0">
                        <a:latin typeface="Abadi" panose="020B0604020104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800" b="0" dirty="0">
                        <a:latin typeface="Abadi" panose="020B0604020104020204" pitchFamily="34" charset="0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5801849"/>
                  </a:ext>
                </a:extLst>
              </a:tr>
            </a:tbl>
          </a:graphicData>
        </a:graphic>
      </p:graphicFrame>
      <p:graphicFrame>
        <p:nvGraphicFramePr>
          <p:cNvPr id="54" name="Table 3">
            <a:extLst>
              <a:ext uri="{FF2B5EF4-FFF2-40B4-BE49-F238E27FC236}">
                <a16:creationId xmlns:a16="http://schemas.microsoft.com/office/drawing/2014/main" id="{7D455787-FEB9-47FC-829E-49028F7E5C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2984994"/>
              </p:ext>
            </p:extLst>
          </p:nvPr>
        </p:nvGraphicFramePr>
        <p:xfrm>
          <a:off x="4817318" y="4550758"/>
          <a:ext cx="1110298" cy="8534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757005">
                  <a:extLst>
                    <a:ext uri="{9D8B030D-6E8A-4147-A177-3AD203B41FA5}">
                      <a16:colId xmlns:a16="http://schemas.microsoft.com/office/drawing/2014/main" val="4154813611"/>
                    </a:ext>
                  </a:extLst>
                </a:gridCol>
                <a:gridCol w="353293">
                  <a:extLst>
                    <a:ext uri="{9D8B030D-6E8A-4147-A177-3AD203B41FA5}">
                      <a16:colId xmlns:a16="http://schemas.microsoft.com/office/drawing/2014/main" val="30062281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Ameno Pep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72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5841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Terami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26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12425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Bioimil Multivita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 2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0950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Cebión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  1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801849"/>
                  </a:ext>
                </a:extLst>
              </a:tr>
            </a:tbl>
          </a:graphicData>
        </a:graphic>
      </p:graphicFrame>
      <p:graphicFrame>
        <p:nvGraphicFramePr>
          <p:cNvPr id="59" name="Table 3">
            <a:extLst>
              <a:ext uri="{FF2B5EF4-FFF2-40B4-BE49-F238E27FC236}">
                <a16:creationId xmlns:a16="http://schemas.microsoft.com/office/drawing/2014/main" id="{9A017FBE-B084-4AFA-8019-A807B1393E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910796"/>
              </p:ext>
            </p:extLst>
          </p:nvPr>
        </p:nvGraphicFramePr>
        <p:xfrm>
          <a:off x="3666765" y="4546539"/>
          <a:ext cx="1110298" cy="8534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719455">
                  <a:extLst>
                    <a:ext uri="{9D8B030D-6E8A-4147-A177-3AD203B41FA5}">
                      <a16:colId xmlns:a16="http://schemas.microsoft.com/office/drawing/2014/main" val="4154813611"/>
                    </a:ext>
                  </a:extLst>
                </a:gridCol>
                <a:gridCol w="390843">
                  <a:extLst>
                    <a:ext uri="{9D8B030D-6E8A-4147-A177-3AD203B41FA5}">
                      <a16:colId xmlns:a16="http://schemas.microsoft.com/office/drawing/2014/main" val="30062281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CardioDelo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5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5841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CardioAspir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36</a:t>
                      </a:r>
                    </a:p>
                  </a:txBody>
                  <a:tcP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12425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Cardio Vital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14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0950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Amlocar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1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801849"/>
                  </a:ext>
                </a:extLst>
              </a:tr>
            </a:tbl>
          </a:graphicData>
        </a:graphic>
      </p:graphicFrame>
      <p:graphicFrame>
        <p:nvGraphicFramePr>
          <p:cNvPr id="61" name="Table 3">
            <a:extLst>
              <a:ext uri="{FF2B5EF4-FFF2-40B4-BE49-F238E27FC236}">
                <a16:creationId xmlns:a16="http://schemas.microsoft.com/office/drawing/2014/main" id="{303D6CC1-9804-4976-A6C6-FA71FF90C07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9250808"/>
              </p:ext>
            </p:extLst>
          </p:nvPr>
        </p:nvGraphicFramePr>
        <p:xfrm>
          <a:off x="7137922" y="4549991"/>
          <a:ext cx="1110298" cy="8534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775155">
                  <a:extLst>
                    <a:ext uri="{9D8B030D-6E8A-4147-A177-3AD203B41FA5}">
                      <a16:colId xmlns:a16="http://schemas.microsoft.com/office/drawing/2014/main" val="4154813611"/>
                    </a:ext>
                  </a:extLst>
                </a:gridCol>
                <a:gridCol w="335143">
                  <a:extLst>
                    <a:ext uri="{9D8B030D-6E8A-4147-A177-3AD203B41FA5}">
                      <a16:colId xmlns:a16="http://schemas.microsoft.com/office/drawing/2014/main" val="30062281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Alka AD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95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5841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Tap O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3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12425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Enteroguani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1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410950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Veloz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1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5801849"/>
                  </a:ext>
                </a:extLst>
              </a:tr>
            </a:tbl>
          </a:graphicData>
        </a:graphic>
      </p:graphicFrame>
      <p:graphicFrame>
        <p:nvGraphicFramePr>
          <p:cNvPr id="62" name="Table 3">
            <a:extLst>
              <a:ext uri="{FF2B5EF4-FFF2-40B4-BE49-F238E27FC236}">
                <a16:creationId xmlns:a16="http://schemas.microsoft.com/office/drawing/2014/main" id="{5052AFDA-D131-4B6B-8013-5C882E30C8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2646062"/>
              </p:ext>
            </p:extLst>
          </p:nvPr>
        </p:nvGraphicFramePr>
        <p:xfrm>
          <a:off x="2505326" y="4545024"/>
          <a:ext cx="1110298" cy="853440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719455">
                  <a:extLst>
                    <a:ext uri="{9D8B030D-6E8A-4147-A177-3AD203B41FA5}">
                      <a16:colId xmlns:a16="http://schemas.microsoft.com/office/drawing/2014/main" val="4154813611"/>
                    </a:ext>
                  </a:extLst>
                </a:gridCol>
                <a:gridCol w="390843">
                  <a:extLst>
                    <a:ext uri="{9D8B030D-6E8A-4147-A177-3AD203B41FA5}">
                      <a16:colId xmlns:a16="http://schemas.microsoft.com/office/drawing/2014/main" val="30062281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Fungifa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99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5841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Pomada San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MX" sz="800" b="0" dirty="0">
                          <a:latin typeface="Abadi MT Condensed Light" panose="020B0306030101010103" pitchFamily="34" charset="77"/>
                        </a:rPr>
                        <a:t>1%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12425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800" b="0" dirty="0">
                        <a:latin typeface="Abadi MT Condensed Light" panose="020B0306030101010103" pitchFamily="34" charset="77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800" b="0" dirty="0">
                        <a:latin typeface="Abadi MT Condensed Light" panose="020B0306030101010103" pitchFamily="34" charset="77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0950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800" b="0" dirty="0">
                        <a:latin typeface="Abadi MT Condensed Light" panose="020B0306030101010103" pitchFamily="34" charset="77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MX" sz="800" b="0" dirty="0">
                        <a:latin typeface="Abadi MT Condensed Light" panose="020B0306030101010103" pitchFamily="34" charset="77"/>
                      </a:endParaRP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5801849"/>
                  </a:ext>
                </a:extLst>
              </a:tr>
            </a:tbl>
          </a:graphicData>
        </a:graphic>
      </p:graphicFrame>
      <p:sp>
        <p:nvSpPr>
          <p:cNvPr id="63" name="Title 1">
            <a:extLst>
              <a:ext uri="{FF2B5EF4-FFF2-40B4-BE49-F238E27FC236}">
                <a16:creationId xmlns:a16="http://schemas.microsoft.com/office/drawing/2014/main" id="{9B3CD247-D595-49F3-A800-4C9F263D6654}"/>
              </a:ext>
            </a:extLst>
          </p:cNvPr>
          <p:cNvSpPr txBox="1">
            <a:spLocks/>
          </p:cNvSpPr>
          <p:nvPr/>
        </p:nvSpPr>
        <p:spPr>
          <a:xfrm>
            <a:off x="9284024" y="601057"/>
            <a:ext cx="2781640" cy="2715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INVESTMENT BY CHANN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4306EBD-7C33-4630-85ED-018709C670F0}"/>
              </a:ext>
            </a:extLst>
          </p:cNvPr>
          <p:cNvSpPr txBox="1"/>
          <p:nvPr/>
        </p:nvSpPr>
        <p:spPr>
          <a:xfrm>
            <a:off x="126594" y="5554814"/>
            <a:ext cx="982423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Comentarios: </a:t>
            </a:r>
            <a:r>
              <a:rPr kumimoji="0" lang="es-MX" sz="1150" b="1" i="0" u="none" strike="noStrike" kern="1200" cap="none" spc="0" normalizeH="0" baseline="0" noProof="0" dirty="0">
                <a:ln>
                  <a:noFill/>
                </a:ln>
                <a:solidFill>
                  <a:srgbClr val="202122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Bayer </a:t>
            </a:r>
            <a:r>
              <a:rPr lang="es-MX" sz="1150" b="1" dirty="0">
                <a:solidFill>
                  <a:srgbClr val="202122"/>
                </a:solidFill>
                <a:latin typeface="Abadi" panose="020B0604020104020204" pitchFamily="34" charset="0"/>
              </a:rPr>
              <a:t>mantiene la posición 2</a:t>
            </a:r>
            <a:r>
              <a:rPr kumimoji="0" lang="es-MX" sz="1150" b="1" i="0" u="none" strike="noStrike" kern="1200" cap="none" spc="0" normalizeH="0" baseline="0" noProof="0" dirty="0">
                <a:ln>
                  <a:noFill/>
                </a:ln>
                <a:solidFill>
                  <a:srgbClr val="202122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en el SOI </a:t>
            </a:r>
            <a:r>
              <a:rPr lang="es-MX" sz="1150" b="1" dirty="0">
                <a:solidFill>
                  <a:srgbClr val="202122"/>
                </a:solidFill>
                <a:latin typeface="Abadi" panose="020B0604020104020204" pitchFamily="34" charset="0"/>
              </a:rPr>
              <a:t>d</a:t>
            </a:r>
            <a:r>
              <a:rPr kumimoji="0" lang="es-MX" sz="1150" b="1" i="0" u="none" strike="noStrike" kern="1200" cap="none" spc="0" normalizeH="0" baseline="0" noProof="0" dirty="0">
                <a:ln>
                  <a:noFill/>
                </a:ln>
                <a:solidFill>
                  <a:srgbClr val="202122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el sector de farmacéuticas con el 16% del SOI, 1er lugar se encuentra Infarma con el 2</a:t>
            </a:r>
            <a:r>
              <a:rPr lang="es-MX" sz="1150" b="1" dirty="0">
                <a:solidFill>
                  <a:srgbClr val="202122"/>
                </a:solidFill>
                <a:latin typeface="Abadi" panose="020B0604020104020204" pitchFamily="34" charset="0"/>
              </a:rPr>
              <a:t>7</a:t>
            </a:r>
            <a:r>
              <a:rPr kumimoji="0" lang="es-MX" sz="1150" b="1" i="0" u="none" strike="noStrike" kern="1200" cap="none" spc="0" normalizeH="0" baseline="0" noProof="0" dirty="0">
                <a:ln>
                  <a:noFill/>
                </a:ln>
                <a:solidFill>
                  <a:srgbClr val="202122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% con sus productos </a:t>
            </a:r>
            <a:r>
              <a:rPr lang="es-MX" sz="1150" b="1" dirty="0">
                <a:solidFill>
                  <a:srgbClr val="202122"/>
                </a:solidFill>
                <a:latin typeface="Abadi" panose="020B0604020104020204" pitchFamily="34" charset="0"/>
              </a:rPr>
              <a:t>Aliviol, Gripex y Mentolina,</a:t>
            </a:r>
            <a:r>
              <a:rPr kumimoji="0" lang="es-MX" sz="1150" b="1" i="0" u="none" strike="noStrike" kern="1200" cap="none" spc="0" normalizeH="0" baseline="0" noProof="0" dirty="0">
                <a:ln>
                  <a:noFill/>
                </a:ln>
                <a:solidFill>
                  <a:srgbClr val="202122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</a:t>
            </a:r>
            <a:r>
              <a:rPr kumimoji="0" lang="es-MX" sz="1150" i="0" u="none" strike="noStrike" kern="1200" cap="none" spc="0" normalizeH="0" baseline="0" noProof="0" dirty="0">
                <a:ln>
                  <a:noFill/>
                </a:ln>
                <a:solidFill>
                  <a:srgbClr val="202122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como marcas de mayor inversión de este anunciant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150" dirty="0">
                <a:solidFill>
                  <a:srgbClr val="202122"/>
                </a:solidFill>
                <a:latin typeface="Abadi" panose="020B0604020104020204" pitchFamily="34" charset="0"/>
              </a:rPr>
              <a:t>Durante el mes</a:t>
            </a:r>
            <a:r>
              <a:rPr kumimoji="0" lang="es-MX" sz="1150" b="0" i="0" u="none" strike="noStrike" kern="1200" cap="none" spc="0" normalizeH="0" baseline="0" noProof="0" dirty="0">
                <a:ln>
                  <a:noFill/>
                </a:ln>
                <a:solidFill>
                  <a:srgbClr val="202122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2024, Bayer lidera en tres categorias : antiácidos, antidiarréicos y antimicóticos . En analgésicos y antigripales ha perdido posición en el SOI pasando de posición 3 en el 2023 a posición 9</a:t>
            </a:r>
            <a:r>
              <a:rPr lang="es-MX" sz="1150" dirty="0">
                <a:solidFill>
                  <a:srgbClr val="202122"/>
                </a:solidFill>
                <a:latin typeface="Abadi" panose="020B0604020104020204" pitchFamily="34" charset="0"/>
              </a:rPr>
              <a:t> con marcas como </a:t>
            </a:r>
            <a:r>
              <a:rPr kumimoji="0" lang="es-MX" sz="1150" b="0" i="0" u="none" strike="noStrike" kern="1200" cap="none" spc="0" normalizeH="0" baseline="0" noProof="0" dirty="0">
                <a:ln>
                  <a:noFill/>
                </a:ln>
                <a:solidFill>
                  <a:srgbClr val="202122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Acetaminifen B y Tabcin GT y 11 para Aleve</a:t>
            </a:r>
            <a:r>
              <a:rPr lang="es-MX" sz="1150" dirty="0">
                <a:solidFill>
                  <a:srgbClr val="202122"/>
                </a:solidFill>
                <a:latin typeface="Abadi" panose="020B0604020104020204" pitchFamily="34" charset="0"/>
              </a:rPr>
              <a:t>.</a:t>
            </a:r>
            <a:endParaRPr kumimoji="0" lang="es-MX" sz="1150" b="0" i="0" u="none" strike="noStrike" kern="1200" cap="none" spc="0" normalizeH="0" baseline="0" noProof="0" dirty="0">
              <a:ln>
                <a:noFill/>
              </a:ln>
              <a:solidFill>
                <a:srgbClr val="202122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150" b="0" i="0" u="none" strike="noStrike" kern="1200" cap="none" spc="0" normalizeH="0" baseline="0" noProof="0" dirty="0">
                <a:ln>
                  <a:noFill/>
                </a:ln>
                <a:solidFill>
                  <a:srgbClr val="202122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La inversión publicitaria del sector de farmacéuticos ha</a:t>
            </a:r>
            <a:r>
              <a:rPr lang="es-MX" sz="1150" dirty="0">
                <a:solidFill>
                  <a:srgbClr val="202122"/>
                </a:solidFill>
                <a:latin typeface="Abadi" panose="020B0604020104020204" pitchFamily="34" charset="0"/>
              </a:rPr>
              <a:t> incrementado en un 3</a:t>
            </a:r>
            <a:r>
              <a:rPr kumimoji="0" lang="es-MX" sz="1150" b="0" i="0" u="none" strike="noStrike" kern="1200" cap="none" spc="0" normalizeH="0" baseline="0" noProof="0" dirty="0">
                <a:ln>
                  <a:noFill/>
                </a:ln>
                <a:solidFill>
                  <a:srgbClr val="202122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% en relación al 2023</a:t>
            </a:r>
            <a:r>
              <a:rPr lang="es-MX" sz="1150" dirty="0">
                <a:solidFill>
                  <a:srgbClr val="202122"/>
                </a:solidFill>
                <a:latin typeface="Abadi" panose="020B0604020104020204" pitchFamily="34" charset="0"/>
              </a:rPr>
              <a:t> esto debido</a:t>
            </a:r>
            <a:r>
              <a:rPr kumimoji="0" lang="es-MX" sz="1150" b="0" i="0" u="none" strike="noStrike" kern="1200" cap="none" spc="0" normalizeH="0" baseline="0" noProof="0" dirty="0">
                <a:ln>
                  <a:noFill/>
                </a:ln>
                <a:solidFill>
                  <a:srgbClr val="202122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all crecimiento de algunas categorias como : antigripales que crece en un 50%, antiácidos que crece 181% y vitaminas 115%.</a:t>
            </a:r>
            <a:endParaRPr kumimoji="0" lang="es-MX" sz="11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65" name="Title 1">
            <a:extLst>
              <a:ext uri="{FF2B5EF4-FFF2-40B4-BE49-F238E27FC236}">
                <a16:creationId xmlns:a16="http://schemas.microsoft.com/office/drawing/2014/main" id="{4C48D2CD-8691-4780-8DC5-D033FD1EDF9B}"/>
              </a:ext>
            </a:extLst>
          </p:cNvPr>
          <p:cNvSpPr txBox="1">
            <a:spLocks/>
          </p:cNvSpPr>
          <p:nvPr/>
        </p:nvSpPr>
        <p:spPr>
          <a:xfrm>
            <a:off x="9551707" y="3927703"/>
            <a:ext cx="2781640" cy="2715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Investment by Year (‘Mill)</a:t>
            </a:r>
          </a:p>
        </p:txBody>
      </p:sp>
      <p:pic>
        <p:nvPicPr>
          <p:cNvPr id="20" name="Picture 6">
            <a:extLst>
              <a:ext uri="{FF2B5EF4-FFF2-40B4-BE49-F238E27FC236}">
                <a16:creationId xmlns:a16="http://schemas.microsoft.com/office/drawing/2014/main" id="{C26BF914-0610-FE48-A8EF-F9B0E06469D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28" r="25417"/>
          <a:stretch/>
        </p:blipFill>
        <p:spPr bwMode="auto">
          <a:xfrm>
            <a:off x="6595933" y="601505"/>
            <a:ext cx="424477" cy="444433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C3986A6E-5170-9446-9F64-28946BAFE897}"/>
              </a:ext>
            </a:extLst>
          </p:cNvPr>
          <p:cNvSpPr txBox="1"/>
          <p:nvPr/>
        </p:nvSpPr>
        <p:spPr>
          <a:xfrm>
            <a:off x="10878241" y="5734856"/>
            <a:ext cx="5121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1000" dirty="0">
                <a:solidFill>
                  <a:schemeClr val="accent6">
                    <a:lumMod val="75000"/>
                  </a:schemeClr>
                </a:solidFill>
                <a:latin typeface="Calibri" panose="020F0502020204030204"/>
              </a:rPr>
              <a:t>3</a:t>
            </a:r>
            <a:r>
              <a:rPr kumimoji="0" lang="es-HN" sz="1000" b="0" i="0" u="none" strike="noStrike" kern="1200" cap="none" spc="0" normalizeH="0" baseline="0" noProof="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%</a:t>
            </a:r>
          </a:p>
        </p:txBody>
      </p:sp>
      <p:sp>
        <p:nvSpPr>
          <p:cNvPr id="8" name="Flecha curvada hacia abajo 7">
            <a:extLst>
              <a:ext uri="{FF2B5EF4-FFF2-40B4-BE49-F238E27FC236}">
                <a16:creationId xmlns:a16="http://schemas.microsoft.com/office/drawing/2014/main" id="{AC55FE1B-24CE-7F46-91F5-6A428ACBC2EA}"/>
              </a:ext>
            </a:extLst>
          </p:cNvPr>
          <p:cNvSpPr/>
          <p:nvPr/>
        </p:nvSpPr>
        <p:spPr>
          <a:xfrm>
            <a:off x="10872637" y="5616110"/>
            <a:ext cx="329099" cy="148631"/>
          </a:xfrm>
          <a:prstGeom prst="curvedDownArrow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HN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24" name="Gráfico 5">
            <a:extLst>
              <a:ext uri="{FF2B5EF4-FFF2-40B4-BE49-F238E27FC236}">
                <a16:creationId xmlns:a16="http://schemas.microsoft.com/office/drawing/2014/main" id="{47CD7D8F-A57B-2742-B65C-91271875E4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5077232"/>
              </p:ext>
            </p:extLst>
          </p:nvPr>
        </p:nvGraphicFramePr>
        <p:xfrm>
          <a:off x="-24944" y="986093"/>
          <a:ext cx="9481817" cy="34464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DA7FACAF-D0EB-8145-8BE2-769B4FB6727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3971114"/>
              </p:ext>
            </p:extLst>
          </p:nvPr>
        </p:nvGraphicFramePr>
        <p:xfrm>
          <a:off x="8801002" y="1044125"/>
          <a:ext cx="4269201" cy="28725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7CAB897C-F6A8-4347-B8CC-CCF3056E0A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53238190"/>
              </p:ext>
            </p:extLst>
          </p:nvPr>
        </p:nvGraphicFramePr>
        <p:xfrm>
          <a:off x="9813285" y="4210258"/>
          <a:ext cx="2365285" cy="15194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1329337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3"/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408" y="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MICÓTICO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CE2A666-5A11-4E16-A61A-50F8F6DB60B1}"/>
              </a:ext>
            </a:extLst>
          </p:cNvPr>
          <p:cNvSpPr/>
          <p:nvPr/>
        </p:nvSpPr>
        <p:spPr>
          <a:xfrm>
            <a:off x="5333214" y="607962"/>
            <a:ext cx="1608866" cy="22590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5068628-66AB-4882-89F7-38BC30276AAB}"/>
              </a:ext>
            </a:extLst>
          </p:cNvPr>
          <p:cNvSpPr txBox="1"/>
          <p:nvPr/>
        </p:nvSpPr>
        <p:spPr>
          <a:xfrm>
            <a:off x="4647337" y="563303"/>
            <a:ext cx="29816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600" dirty="0"/>
              <a:t>TÁCTICAS BAYER</a:t>
            </a:r>
          </a:p>
        </p:txBody>
      </p:sp>
      <p:pic>
        <p:nvPicPr>
          <p:cNvPr id="64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A1513007-9818-4183-B323-4A8938FEA9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0AFB4ED1-6F9C-451F-B2AE-2511A55397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10">
            <a:extLst>
              <a:ext uri="{FF2B5EF4-FFF2-40B4-BE49-F238E27FC236}">
                <a16:creationId xmlns:a16="http://schemas.microsoft.com/office/drawing/2014/main" id="{78591E11-24F8-4B46-B4C6-B424FD3BF05D}"/>
              </a:ext>
            </a:extLst>
          </p:cNvPr>
          <p:cNvSpPr txBox="1"/>
          <p:nvPr/>
        </p:nvSpPr>
        <p:spPr>
          <a:xfrm>
            <a:off x="2691622" y="954214"/>
            <a:ext cx="987771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R" sz="1300" b="1" dirty="0" err="1">
                <a:latin typeface="Abadi" panose="020B0604020104020204" pitchFamily="34" charset="0"/>
                <a:ea typeface="Merriweather"/>
                <a:cs typeface="Merriweather"/>
              </a:rPr>
              <a:t>Canesten</a:t>
            </a:r>
            <a:r>
              <a:rPr lang="es-CR" sz="1300" b="1" dirty="0">
                <a:latin typeface="Abadi" panose="020B0604020104020204" pitchFamily="34" charset="0"/>
                <a:ea typeface="Merriweather"/>
                <a:cs typeface="Merriweather"/>
              </a:rPr>
              <a:t> V</a:t>
            </a:r>
          </a:p>
        </p:txBody>
      </p:sp>
      <p:sp>
        <p:nvSpPr>
          <p:cNvPr id="67" name="Marcador de contenido 2">
            <a:extLst>
              <a:ext uri="{FF2B5EF4-FFF2-40B4-BE49-F238E27FC236}">
                <a16:creationId xmlns:a16="http://schemas.microsoft.com/office/drawing/2014/main" id="{6C9FAEB1-3810-478C-840A-9D62FEDFB20D}"/>
              </a:ext>
            </a:extLst>
          </p:cNvPr>
          <p:cNvSpPr txBox="1">
            <a:spLocks/>
          </p:cNvSpPr>
          <p:nvPr/>
        </p:nvSpPr>
        <p:spPr>
          <a:xfrm>
            <a:off x="1960075" y="3042087"/>
            <a:ext cx="2507957" cy="1026320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</p:txBody>
      </p:sp>
      <p:sp>
        <p:nvSpPr>
          <p:cNvPr id="68" name="Marcador de contenido 2">
            <a:extLst>
              <a:ext uri="{FF2B5EF4-FFF2-40B4-BE49-F238E27FC236}">
                <a16:creationId xmlns:a16="http://schemas.microsoft.com/office/drawing/2014/main" id="{AEF0D607-8ECC-4362-A3C0-B6CB48E9469F}"/>
              </a:ext>
            </a:extLst>
          </p:cNvPr>
          <p:cNvSpPr txBox="1">
            <a:spLocks/>
          </p:cNvSpPr>
          <p:nvPr/>
        </p:nvSpPr>
        <p:spPr>
          <a:xfrm>
            <a:off x="1960072" y="4281635"/>
            <a:ext cx="2507957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2060"/>
              </a:buClr>
              <a:buNone/>
            </a:pPr>
            <a:r>
              <a:rPr lang="es-CR" sz="11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CR" sz="1100" dirty="0">
                <a:latin typeface="Abadi" panose="020B0604020104020204" pitchFamily="34" charset="0"/>
              </a:rPr>
              <a:t>Sin actividad</a:t>
            </a:r>
          </a:p>
        </p:txBody>
      </p:sp>
      <p:sp>
        <p:nvSpPr>
          <p:cNvPr id="69" name="Marcador de contenido 2">
            <a:extLst>
              <a:ext uri="{FF2B5EF4-FFF2-40B4-BE49-F238E27FC236}">
                <a16:creationId xmlns:a16="http://schemas.microsoft.com/office/drawing/2014/main" id="{2DB402FF-6B37-478C-BCFE-5804060C52EA}"/>
              </a:ext>
            </a:extLst>
          </p:cNvPr>
          <p:cNvSpPr txBox="1">
            <a:spLocks/>
          </p:cNvSpPr>
          <p:nvPr/>
        </p:nvSpPr>
        <p:spPr>
          <a:xfrm>
            <a:off x="4814807" y="4281635"/>
            <a:ext cx="2507961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  <a:p>
            <a:pPr marL="0" indent="0">
              <a:buNone/>
            </a:pPr>
            <a:endParaRPr lang="es-MX" sz="1200" dirty="0">
              <a:latin typeface="Abadi" panose="020B0604020104020204" pitchFamily="34" charset="0"/>
            </a:endParaRPr>
          </a:p>
        </p:txBody>
      </p:sp>
      <p:pic>
        <p:nvPicPr>
          <p:cNvPr id="70" name="Imagen 11">
            <a:extLst>
              <a:ext uri="{FF2B5EF4-FFF2-40B4-BE49-F238E27FC236}">
                <a16:creationId xmlns:a16="http://schemas.microsoft.com/office/drawing/2014/main" id="{451B553E-ED32-4F1D-A6FF-03C216BBB12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95" y="1747895"/>
            <a:ext cx="672955" cy="672955"/>
          </a:xfrm>
          <a:prstGeom prst="rect">
            <a:avLst/>
          </a:prstGeom>
        </p:spPr>
      </p:pic>
      <p:pic>
        <p:nvPicPr>
          <p:cNvPr id="71" name="Imagen 14">
            <a:extLst>
              <a:ext uri="{FF2B5EF4-FFF2-40B4-BE49-F238E27FC236}">
                <a16:creationId xmlns:a16="http://schemas.microsoft.com/office/drawing/2014/main" id="{2C069AEB-59AA-4C87-9A84-BA749CF3608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8" y="4731461"/>
            <a:ext cx="594850" cy="594850"/>
          </a:xfrm>
          <a:prstGeom prst="rect">
            <a:avLst/>
          </a:prstGeom>
        </p:spPr>
      </p:pic>
      <p:pic>
        <p:nvPicPr>
          <p:cNvPr id="72" name="Imagen 15">
            <a:extLst>
              <a:ext uri="{FF2B5EF4-FFF2-40B4-BE49-F238E27FC236}">
                <a16:creationId xmlns:a16="http://schemas.microsoft.com/office/drawing/2014/main" id="{DFAE6BED-7440-400D-BA2C-D6B241ACC46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95" y="3228641"/>
            <a:ext cx="653212" cy="653212"/>
          </a:xfrm>
          <a:prstGeom prst="rect">
            <a:avLst/>
          </a:prstGeom>
        </p:spPr>
      </p:pic>
      <p:sp>
        <p:nvSpPr>
          <p:cNvPr id="73" name="Marcador de contenido 2">
            <a:extLst>
              <a:ext uri="{FF2B5EF4-FFF2-40B4-BE49-F238E27FC236}">
                <a16:creationId xmlns:a16="http://schemas.microsoft.com/office/drawing/2014/main" id="{0FE48130-2DCC-4967-9041-99028F194917}"/>
              </a:ext>
            </a:extLst>
          </p:cNvPr>
          <p:cNvSpPr txBox="1">
            <a:spLocks/>
          </p:cNvSpPr>
          <p:nvPr/>
        </p:nvSpPr>
        <p:spPr>
          <a:xfrm>
            <a:off x="7714864" y="3042087"/>
            <a:ext cx="2516272" cy="1071946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</p:txBody>
      </p:sp>
      <p:sp>
        <p:nvSpPr>
          <p:cNvPr id="74" name="Marcador de contenido 2">
            <a:extLst>
              <a:ext uri="{FF2B5EF4-FFF2-40B4-BE49-F238E27FC236}">
                <a16:creationId xmlns:a16="http://schemas.microsoft.com/office/drawing/2014/main" id="{E014B9DE-E3C2-44BF-9EC0-757CACC94D4F}"/>
              </a:ext>
            </a:extLst>
          </p:cNvPr>
          <p:cNvSpPr txBox="1">
            <a:spLocks/>
          </p:cNvSpPr>
          <p:nvPr/>
        </p:nvSpPr>
        <p:spPr>
          <a:xfrm>
            <a:off x="4804948" y="3042087"/>
            <a:ext cx="2507168" cy="1071946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</p:txBody>
      </p:sp>
      <p:sp>
        <p:nvSpPr>
          <p:cNvPr id="75" name="Marcador de contenido 2">
            <a:extLst>
              <a:ext uri="{FF2B5EF4-FFF2-40B4-BE49-F238E27FC236}">
                <a16:creationId xmlns:a16="http://schemas.microsoft.com/office/drawing/2014/main" id="{29EBDD38-CE8F-4582-BCCB-E65D51FEF352}"/>
              </a:ext>
            </a:extLst>
          </p:cNvPr>
          <p:cNvSpPr txBox="1">
            <a:spLocks/>
          </p:cNvSpPr>
          <p:nvPr/>
        </p:nvSpPr>
        <p:spPr>
          <a:xfrm>
            <a:off x="7714860" y="4281635"/>
            <a:ext cx="2507961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. </a:t>
            </a:r>
          </a:p>
        </p:txBody>
      </p:sp>
      <p:sp>
        <p:nvSpPr>
          <p:cNvPr id="76" name="Marcador de contenido 2">
            <a:extLst>
              <a:ext uri="{FF2B5EF4-FFF2-40B4-BE49-F238E27FC236}">
                <a16:creationId xmlns:a16="http://schemas.microsoft.com/office/drawing/2014/main" id="{D5959A5B-6FD9-44E2-AD34-59EABB03BAD5}"/>
              </a:ext>
            </a:extLst>
          </p:cNvPr>
          <p:cNvSpPr txBox="1">
            <a:spLocks/>
          </p:cNvSpPr>
          <p:nvPr/>
        </p:nvSpPr>
        <p:spPr>
          <a:xfrm>
            <a:off x="4807516" y="1345124"/>
            <a:ext cx="2507168" cy="1471315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</p:txBody>
      </p:sp>
      <p:sp>
        <p:nvSpPr>
          <p:cNvPr id="78" name="Marcador de contenido 2">
            <a:extLst>
              <a:ext uri="{FF2B5EF4-FFF2-40B4-BE49-F238E27FC236}">
                <a16:creationId xmlns:a16="http://schemas.microsoft.com/office/drawing/2014/main" id="{55D8C8E5-6315-4B11-8790-09790CA96B06}"/>
              </a:ext>
            </a:extLst>
          </p:cNvPr>
          <p:cNvSpPr txBox="1">
            <a:spLocks/>
          </p:cNvSpPr>
          <p:nvPr/>
        </p:nvSpPr>
        <p:spPr>
          <a:xfrm>
            <a:off x="7717435" y="1345124"/>
            <a:ext cx="2507957" cy="1471315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endParaRPr lang="es-MX" sz="1200" dirty="0">
              <a:latin typeface="Abadi" panose="020B0604020104020204" pitchFamily="34" charset="0"/>
            </a:endParaRPr>
          </a:p>
        </p:txBody>
      </p:sp>
      <p:sp>
        <p:nvSpPr>
          <p:cNvPr id="80" name="Marcador de contenido 2">
            <a:extLst>
              <a:ext uri="{FF2B5EF4-FFF2-40B4-BE49-F238E27FC236}">
                <a16:creationId xmlns:a16="http://schemas.microsoft.com/office/drawing/2014/main" id="{69D9BD66-246A-41B3-9527-9B47AF61F6ED}"/>
              </a:ext>
            </a:extLst>
          </p:cNvPr>
          <p:cNvSpPr txBox="1">
            <a:spLocks/>
          </p:cNvSpPr>
          <p:nvPr/>
        </p:nvSpPr>
        <p:spPr>
          <a:xfrm>
            <a:off x="1960076" y="1352305"/>
            <a:ext cx="2507957" cy="1464134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pPr>
              <a:buFontTx/>
              <a:buChar char="-"/>
            </a:pPr>
            <a:r>
              <a:rPr lang="es-MX" sz="1200" dirty="0">
                <a:latin typeface="Abadi" panose="020B0604020104020204" pitchFamily="34" charset="0"/>
              </a:rPr>
              <a:t>Pauta en HCH revista Que Viva La Vida de L/V y Fin de Semana, Adicional pauta en TSI con patrocinio de sec. En Las Dueñas del Balón</a:t>
            </a:r>
          </a:p>
          <a:p>
            <a:pPr>
              <a:buFontTx/>
              <a:buChar char="-"/>
            </a:pPr>
            <a:r>
              <a:rPr lang="es-MX" sz="1200" dirty="0">
                <a:latin typeface="Abadi" panose="020B0604020104020204" pitchFamily="34" charset="0"/>
              </a:rPr>
              <a:t>Alcances : Msj 137| Trp’s 709 | COE 1.0</a:t>
            </a:r>
          </a:p>
        </p:txBody>
      </p:sp>
      <p:sp>
        <p:nvSpPr>
          <p:cNvPr id="81" name="Marcador de contenido 2">
            <a:extLst>
              <a:ext uri="{FF2B5EF4-FFF2-40B4-BE49-F238E27FC236}">
                <a16:creationId xmlns:a16="http://schemas.microsoft.com/office/drawing/2014/main" id="{C4640BF2-1194-4F37-9A26-5FCA45345626}"/>
              </a:ext>
            </a:extLst>
          </p:cNvPr>
          <p:cNvSpPr txBox="1">
            <a:spLocks/>
          </p:cNvSpPr>
          <p:nvPr/>
        </p:nvSpPr>
        <p:spPr>
          <a:xfrm>
            <a:off x="4800600" y="5942505"/>
            <a:ext cx="2511517" cy="779403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. </a:t>
            </a:r>
          </a:p>
          <a:p>
            <a:pPr marL="0" indent="0">
              <a:buNone/>
            </a:pPr>
            <a:endParaRPr lang="es-MX" sz="1200" dirty="0">
              <a:latin typeface="Abadi" panose="020B0604020104020204" pitchFamily="34" charset="0"/>
            </a:endParaRPr>
          </a:p>
        </p:txBody>
      </p:sp>
      <p:pic>
        <p:nvPicPr>
          <p:cNvPr id="82" name="Imagen 2">
            <a:extLst>
              <a:ext uri="{FF2B5EF4-FFF2-40B4-BE49-F238E27FC236}">
                <a16:creationId xmlns:a16="http://schemas.microsoft.com/office/drawing/2014/main" id="{88859596-E568-4A8A-AAB7-A7377F7FDFC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8" y="5971987"/>
            <a:ext cx="674242" cy="674242"/>
          </a:xfrm>
          <a:prstGeom prst="rect">
            <a:avLst/>
          </a:prstGeom>
        </p:spPr>
      </p:pic>
      <p:sp>
        <p:nvSpPr>
          <p:cNvPr id="83" name="Marcador de contenido 2">
            <a:extLst>
              <a:ext uri="{FF2B5EF4-FFF2-40B4-BE49-F238E27FC236}">
                <a16:creationId xmlns:a16="http://schemas.microsoft.com/office/drawing/2014/main" id="{ECACCD17-3A10-4924-A6CB-17729ADBDC3A}"/>
              </a:ext>
            </a:extLst>
          </p:cNvPr>
          <p:cNvSpPr txBox="1">
            <a:spLocks/>
          </p:cNvSpPr>
          <p:nvPr/>
        </p:nvSpPr>
        <p:spPr>
          <a:xfrm>
            <a:off x="1958009" y="5942505"/>
            <a:ext cx="2510020" cy="779403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</p:txBody>
      </p:sp>
      <p:sp>
        <p:nvSpPr>
          <p:cNvPr id="84" name="Marcador de contenido 2">
            <a:extLst>
              <a:ext uri="{FF2B5EF4-FFF2-40B4-BE49-F238E27FC236}">
                <a16:creationId xmlns:a16="http://schemas.microsoft.com/office/drawing/2014/main" id="{A704B52E-2930-4AD0-9DB1-C6523E331A6D}"/>
              </a:ext>
            </a:extLst>
          </p:cNvPr>
          <p:cNvSpPr txBox="1">
            <a:spLocks/>
          </p:cNvSpPr>
          <p:nvPr/>
        </p:nvSpPr>
        <p:spPr>
          <a:xfrm>
            <a:off x="7714860" y="5942505"/>
            <a:ext cx="2516272" cy="751909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02AFF7E7-B8AF-AC41-955C-E04F60F44884}"/>
              </a:ext>
            </a:extLst>
          </p:cNvPr>
          <p:cNvSpPr txBox="1"/>
          <p:nvPr/>
        </p:nvSpPr>
        <p:spPr>
          <a:xfrm>
            <a:off x="10602686" y="1647371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HN" dirty="0"/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CEA9072-6833-EC4E-B182-865E52F33A15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12-25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 2024 </a:t>
            </a:r>
          </a:p>
        </p:txBody>
      </p:sp>
    </p:spTree>
    <p:extLst>
      <p:ext uri="{BB962C8B-B14F-4D97-AF65-F5344CB8AC3E}">
        <p14:creationId xmlns:p14="http://schemas.microsoft.com/office/powerpoint/2010/main" val="4096886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A66843B-C54E-4A68-84F5-289CC97225A7}"/>
              </a:ext>
            </a:extLst>
          </p:cNvPr>
          <p:cNvSpPr/>
          <p:nvPr/>
        </p:nvSpPr>
        <p:spPr>
          <a:xfrm>
            <a:off x="8527333" y="4268136"/>
            <a:ext cx="998979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aphicFrame>
        <p:nvGraphicFramePr>
          <p:cNvPr id="42" name="Marcador de contenido 10">
            <a:extLst>
              <a:ext uri="{FF2B5EF4-FFF2-40B4-BE49-F238E27FC236}">
                <a16:creationId xmlns:a16="http://schemas.microsoft.com/office/drawing/2014/main" id="{D56C3FD9-F7AF-421C-BBFF-8C2B0C4F68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1225649"/>
              </p:ext>
            </p:extLst>
          </p:nvPr>
        </p:nvGraphicFramePr>
        <p:xfrm>
          <a:off x="5871868" y="4172806"/>
          <a:ext cx="6319340" cy="2572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23390A8-F290-43A7-9F96-E609942B5670}"/>
              </a:ext>
            </a:extLst>
          </p:cNvPr>
          <p:cNvSpPr/>
          <p:nvPr/>
        </p:nvSpPr>
        <p:spPr>
          <a:xfrm>
            <a:off x="2466999" y="4260466"/>
            <a:ext cx="90816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D3A9D05-F844-431B-BCAC-44C0143702CC}"/>
              </a:ext>
            </a:extLst>
          </p:cNvPr>
          <p:cNvSpPr/>
          <p:nvPr/>
        </p:nvSpPr>
        <p:spPr>
          <a:xfrm>
            <a:off x="8449036" y="827087"/>
            <a:ext cx="120876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040C8B7-2A6E-412B-9010-BE3A5BB222EA}"/>
              </a:ext>
            </a:extLst>
          </p:cNvPr>
          <p:cNvSpPr/>
          <p:nvPr/>
        </p:nvSpPr>
        <p:spPr>
          <a:xfrm>
            <a:off x="2137383" y="839328"/>
            <a:ext cx="2850204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526" y="-8159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DERMATOLOGICO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5871868" y="-56288"/>
            <a:ext cx="0" cy="69827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4154266"/>
            <a:ext cx="12221107" cy="10448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21" name="Gráfico 16">
            <a:extLst>
              <a:ext uri="{FF2B5EF4-FFF2-40B4-BE49-F238E27FC236}">
                <a16:creationId xmlns:a16="http://schemas.microsoft.com/office/drawing/2014/main" id="{9614D2A4-6A3E-4675-BF63-453B74AC72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50400315"/>
              </p:ext>
            </p:extLst>
          </p:nvPr>
        </p:nvGraphicFramePr>
        <p:xfrm>
          <a:off x="5943595" y="739677"/>
          <a:ext cx="6246693" cy="3414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68A1F49-03A0-40BB-B4C3-C4CB8AC72F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12255325"/>
              </p:ext>
            </p:extLst>
          </p:nvPr>
        </p:nvGraphicFramePr>
        <p:xfrm>
          <a:off x="1149214" y="826898"/>
          <a:ext cx="4702598" cy="2271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785628DB-99DF-4C03-B512-C43CDD204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4749180"/>
              </p:ext>
            </p:extLst>
          </p:nvPr>
        </p:nvGraphicFramePr>
        <p:xfrm>
          <a:off x="2049881" y="2816225"/>
          <a:ext cx="3783013" cy="134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1" name="Hoja de cálculo" r:id="rId8" imgW="4076700" imgH="1346200" progId="Excel.Sheet.12">
                  <p:embed/>
                </p:oleObj>
              </mc:Choice>
              <mc:Fallback>
                <p:oleObj name="Hoja de cálculo" r:id="rId8" imgW="4076700" imgH="1346200" progId="Excel.Sheet.12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785628DB-99DF-4C03-B512-C43CDD204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049881" y="2816225"/>
                        <a:ext cx="3783013" cy="1346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748B412C-65AF-401C-A123-954C9807BA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99510316"/>
              </p:ext>
            </p:extLst>
          </p:nvPr>
        </p:nvGraphicFramePr>
        <p:xfrm>
          <a:off x="-29107" y="4172807"/>
          <a:ext cx="5900972" cy="2685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7" name="Object 36">
            <a:extLst>
              <a:ext uri="{FF2B5EF4-FFF2-40B4-BE49-F238E27FC236}">
                <a16:creationId xmlns:a16="http://schemas.microsoft.com/office/drawing/2014/main" id="{E3329616-4A16-4E9F-BC32-F9AE170E7E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37339683"/>
              </p:ext>
            </p:extLst>
          </p:nvPr>
        </p:nvGraphicFramePr>
        <p:xfrm>
          <a:off x="6407150" y="1119188"/>
          <a:ext cx="5783263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" name="Hoja de cálculo" r:id="rId11" imgW="4432300" imgH="215900" progId="Excel.Sheet.12">
                  <p:embed/>
                </p:oleObj>
              </mc:Choice>
              <mc:Fallback>
                <p:oleObj name="Hoja de cálculo" r:id="rId11" imgW="4432300" imgH="215900" progId="Excel.Sheet.12">
                  <p:embed/>
                  <p:pic>
                    <p:nvPicPr>
                      <p:cNvPr id="37" name="Object 36">
                        <a:extLst>
                          <a:ext uri="{FF2B5EF4-FFF2-40B4-BE49-F238E27FC236}">
                            <a16:creationId xmlns:a16="http://schemas.microsoft.com/office/drawing/2014/main" id="{E3329616-4A16-4E9F-BC32-F9AE170E7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6407150" y="1119188"/>
                        <a:ext cx="5783263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1">
            <a:extLst>
              <a:ext uri="{FF2B5EF4-FFF2-40B4-BE49-F238E27FC236}">
                <a16:creationId xmlns:a16="http://schemas.microsoft.com/office/drawing/2014/main" id="{55443EAC-93D8-4F92-BFE3-F3628EEB10E7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3190004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1900" dirty="0">
                <a:latin typeface="Abadi" panose="020B0604020104020204" pitchFamily="34" charset="0"/>
              </a:rPr>
              <a:t>Target: H/M 25-45</a:t>
            </a:r>
          </a:p>
          <a:p>
            <a:pPr>
              <a:lnSpc>
                <a:spcPct val="110000"/>
              </a:lnSpc>
            </a:pPr>
            <a:r>
              <a:rPr lang="de-CH" sz="1900" dirty="0">
                <a:latin typeface="Abadi" panose="020B0604020104020204" pitchFamily="34" charset="0"/>
              </a:rPr>
              <a:t>Mayo, 2024 </a:t>
            </a:r>
          </a:p>
        </p:txBody>
      </p:sp>
      <p:pic>
        <p:nvPicPr>
          <p:cNvPr id="45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8CE7A3EC-D360-4CEC-8CF0-14ED42C099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59436C7B-7335-495D-AC94-9D0DC397E2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a 3">
            <a:extLst>
              <a:ext uri="{FF2B5EF4-FFF2-40B4-BE49-F238E27FC236}">
                <a16:creationId xmlns:a16="http://schemas.microsoft.com/office/drawing/2014/main" id="{449A8407-ECBA-1742-BA26-66D819954CFC}"/>
              </a:ext>
            </a:extLst>
          </p:cNvPr>
          <p:cNvGraphicFramePr>
            <a:graphicFrameLocks noGrp="1"/>
          </p:cNvGraphicFramePr>
          <p:nvPr/>
        </p:nvGraphicFramePr>
        <p:xfrm>
          <a:off x="474353" y="983019"/>
          <a:ext cx="632459" cy="1775549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32459">
                  <a:extLst>
                    <a:ext uri="{9D8B030D-6E8A-4147-A177-3AD203B41FA5}">
                      <a16:colId xmlns:a16="http://schemas.microsoft.com/office/drawing/2014/main" val="1185865620"/>
                    </a:ext>
                  </a:extLst>
                </a:gridCol>
              </a:tblGrid>
              <a:tr h="539177">
                <a:tc>
                  <a:txBody>
                    <a:bodyPr/>
                    <a:lstStyle/>
                    <a:p>
                      <a:pPr algn="ctr"/>
                      <a:r>
                        <a:rPr lang="es-HN" sz="1200" dirty="0">
                          <a:latin typeface="Abadi MT Condensed Light" panose="020B0306030101010103" pitchFamily="34" charset="77"/>
                        </a:rPr>
                        <a:t>SO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884866"/>
                  </a:ext>
                </a:extLst>
              </a:tr>
              <a:tr h="1236372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10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95767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180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Chart 26">
            <a:extLst>
              <a:ext uri="{FF2B5EF4-FFF2-40B4-BE49-F238E27FC236}">
                <a16:creationId xmlns:a16="http://schemas.microsoft.com/office/drawing/2014/main" id="{67BEC9DA-EBC2-724A-9792-EC4FAF82BD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2231114"/>
              </p:ext>
            </p:extLst>
          </p:nvPr>
        </p:nvGraphicFramePr>
        <p:xfrm>
          <a:off x="4255855" y="741481"/>
          <a:ext cx="4343334" cy="2810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8DA2D12-8206-4D3D-9493-AF5446A62F01}"/>
              </a:ext>
            </a:extLst>
          </p:cNvPr>
          <p:cNvSpPr/>
          <p:nvPr/>
        </p:nvSpPr>
        <p:spPr>
          <a:xfrm>
            <a:off x="461730" y="829674"/>
            <a:ext cx="2729738" cy="17253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aphicFrame>
        <p:nvGraphicFramePr>
          <p:cNvPr id="36" name="Chart 26">
            <a:extLst>
              <a:ext uri="{FF2B5EF4-FFF2-40B4-BE49-F238E27FC236}">
                <a16:creationId xmlns:a16="http://schemas.microsoft.com/office/drawing/2014/main" id="{416E917E-5749-0A45-BCBE-AFD292CB36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22702035"/>
              </p:ext>
            </p:extLst>
          </p:nvPr>
        </p:nvGraphicFramePr>
        <p:xfrm>
          <a:off x="79906" y="741481"/>
          <a:ext cx="3424622" cy="2810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8374521-8765-48E6-BD6E-29F7A80E3004}"/>
              </a:ext>
            </a:extLst>
          </p:cNvPr>
          <p:cNvSpPr/>
          <p:nvPr/>
        </p:nvSpPr>
        <p:spPr>
          <a:xfrm>
            <a:off x="9585751" y="816644"/>
            <a:ext cx="176975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6F8AB4D-EADF-4793-B39F-087293A0A55C}"/>
              </a:ext>
            </a:extLst>
          </p:cNvPr>
          <p:cNvSpPr/>
          <p:nvPr/>
        </p:nvSpPr>
        <p:spPr>
          <a:xfrm>
            <a:off x="6105939" y="3714742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A51F7E7F-3005-452B-A37E-6345C488012C}"/>
              </a:ext>
            </a:extLst>
          </p:cNvPr>
          <p:cNvSpPr/>
          <p:nvPr/>
        </p:nvSpPr>
        <p:spPr>
          <a:xfrm>
            <a:off x="1463022" y="3714440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55" y="-8437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DERMATOLOGICO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pic>
        <p:nvPicPr>
          <p:cNvPr id="1026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FEEED1DF-8648-4950-89EB-7A9954C08F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27533FF8-4632-48D4-ADB0-357699504C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4321365" y="687166"/>
            <a:ext cx="0" cy="292367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3608125"/>
            <a:ext cx="1237037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6592C3A-4914-420B-9823-54E1CEF44AEF}"/>
              </a:ext>
            </a:extLst>
          </p:cNvPr>
          <p:cNvSpPr/>
          <p:nvPr/>
        </p:nvSpPr>
        <p:spPr>
          <a:xfrm>
            <a:off x="5817753" y="826636"/>
            <a:ext cx="146260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MX" sz="1400" b="1" dirty="0">
                <a:latin typeface="Abadi MT Condensed Extra Bold" panose="020B0306030101010103" pitchFamily="34" charset="77"/>
              </a:rPr>
              <a:t>TV CATEGORY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483B254-E4F6-40A3-9B23-E4A24DF0AC0D}"/>
              </a:ext>
            </a:extLst>
          </p:cNvPr>
          <p:cNvSpPr txBox="1"/>
          <p:nvPr/>
        </p:nvSpPr>
        <p:spPr>
          <a:xfrm>
            <a:off x="817038" y="3663238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NEW CREATIV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D43246-8B24-4048-847D-87FACD838830}"/>
              </a:ext>
            </a:extLst>
          </p:cNvPr>
          <p:cNvSpPr txBox="1"/>
          <p:nvPr/>
        </p:nvSpPr>
        <p:spPr>
          <a:xfrm>
            <a:off x="5441913" y="3663237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OP CREATIVES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61D8F93-DC41-4187-9DDC-CAF216947808}"/>
              </a:ext>
            </a:extLst>
          </p:cNvPr>
          <p:cNvCxnSpPr>
            <a:cxnSpLocks/>
          </p:cNvCxnSpPr>
          <p:nvPr/>
        </p:nvCxnSpPr>
        <p:spPr>
          <a:xfrm>
            <a:off x="4553687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7B3C51B-B8A4-4BA3-B6F8-D38845A5B52C}"/>
              </a:ext>
            </a:extLst>
          </p:cNvPr>
          <p:cNvCxnSpPr>
            <a:cxnSpLocks/>
          </p:cNvCxnSpPr>
          <p:nvPr/>
        </p:nvCxnSpPr>
        <p:spPr>
          <a:xfrm>
            <a:off x="9315795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125F62A-9C20-4B7B-9329-07AF495224FD}"/>
              </a:ext>
            </a:extLst>
          </p:cNvPr>
          <p:cNvSpPr txBox="1"/>
          <p:nvPr/>
        </p:nvSpPr>
        <p:spPr>
          <a:xfrm>
            <a:off x="9360100" y="3634864"/>
            <a:ext cx="2737756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>
                <a:latin typeface="Abadi" panose="020B0604020104020204" pitchFamily="34" charset="0"/>
              </a:rPr>
              <a:t>Aprendizajes: </a:t>
            </a:r>
          </a:p>
          <a:p>
            <a:r>
              <a:rPr lang="es-HN" sz="1200" b="0" i="0" dirty="0">
                <a:solidFill>
                  <a:srgbClr val="0D0D0D"/>
                </a:solidFill>
                <a:effectLst/>
                <a:latin typeface="Söhne"/>
              </a:rPr>
              <a:t>Durante el 2024 la única marca con ruido en esta categoria es Fungifar. Esta marca ha concentrado sus esfuerzos en el medio radial con el 89% del mix, con campaña Vive la copa en donde promociona varios premios por compra de producto ya sea en presentació ultra o talco  </a:t>
            </a:r>
          </a:p>
          <a:p>
            <a:r>
              <a:rPr lang="es-HN" sz="1200" dirty="0">
                <a:solidFill>
                  <a:srgbClr val="0D0D0D"/>
                </a:solidFill>
                <a:latin typeface="Söhne"/>
              </a:rPr>
              <a:t>El 11% usado en TV se concentra en HCH con pauta de menciones de marca (no menciona la promoción)</a:t>
            </a:r>
            <a:endParaRPr lang="es-MX" sz="1200" dirty="0">
              <a:latin typeface="Abadi" panose="020B0604020104020204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1AB5A22-D25F-4A53-8305-C43193081AA7}"/>
              </a:ext>
            </a:extLst>
          </p:cNvPr>
          <p:cNvCxnSpPr>
            <a:cxnSpLocks/>
          </p:cNvCxnSpPr>
          <p:nvPr/>
        </p:nvCxnSpPr>
        <p:spPr>
          <a:xfrm>
            <a:off x="8719463" y="-194425"/>
            <a:ext cx="0" cy="3809329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65" name="Chart 64">
            <a:extLst>
              <a:ext uri="{FF2B5EF4-FFF2-40B4-BE49-F238E27FC236}">
                <a16:creationId xmlns:a16="http://schemas.microsoft.com/office/drawing/2014/main" id="{F99528B7-E46E-4001-AE6D-7F23D6E800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85078704"/>
              </p:ext>
            </p:extLst>
          </p:nvPr>
        </p:nvGraphicFramePr>
        <p:xfrm>
          <a:off x="8838592" y="766416"/>
          <a:ext cx="3450769" cy="2790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7" name="Tabla 10">
            <a:extLst>
              <a:ext uri="{FF2B5EF4-FFF2-40B4-BE49-F238E27FC236}">
                <a16:creationId xmlns:a16="http://schemas.microsoft.com/office/drawing/2014/main" id="{2226B105-37B7-D04A-8D44-C8B84C5583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5596161"/>
              </p:ext>
            </p:extLst>
          </p:nvPr>
        </p:nvGraphicFramePr>
        <p:xfrm>
          <a:off x="3381060" y="855315"/>
          <a:ext cx="939512" cy="1958912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469756">
                  <a:extLst>
                    <a:ext uri="{9D8B030D-6E8A-4147-A177-3AD203B41FA5}">
                      <a16:colId xmlns:a16="http://schemas.microsoft.com/office/drawing/2014/main" val="3008694403"/>
                    </a:ext>
                  </a:extLst>
                </a:gridCol>
                <a:gridCol w="469756">
                  <a:extLst>
                    <a:ext uri="{9D8B030D-6E8A-4147-A177-3AD203B41FA5}">
                      <a16:colId xmlns:a16="http://schemas.microsoft.com/office/drawing/2014/main" val="2769427833"/>
                    </a:ext>
                  </a:extLst>
                </a:gridCol>
              </a:tblGrid>
              <a:tr h="666124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Grp’s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SOV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843301"/>
                  </a:ext>
                </a:extLst>
              </a:tr>
              <a:tr h="1292788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22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10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4059227"/>
                  </a:ext>
                </a:extLst>
              </a:tr>
            </a:tbl>
          </a:graphicData>
        </a:graphic>
      </p:graphicFrame>
      <p:graphicFrame>
        <p:nvGraphicFramePr>
          <p:cNvPr id="28" name="Tabla 12">
            <a:extLst>
              <a:ext uri="{FF2B5EF4-FFF2-40B4-BE49-F238E27FC236}">
                <a16:creationId xmlns:a16="http://schemas.microsoft.com/office/drawing/2014/main" id="{A15A3829-E116-ED4F-A23C-9FF9718A88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5002701"/>
              </p:ext>
            </p:extLst>
          </p:nvPr>
        </p:nvGraphicFramePr>
        <p:xfrm>
          <a:off x="699559" y="3104009"/>
          <a:ext cx="930592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5296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465296">
                  <a:extLst>
                    <a:ext uri="{9D8B030D-6E8A-4147-A177-3AD203B41FA5}">
                      <a16:colId xmlns:a16="http://schemas.microsoft.com/office/drawing/2014/main" val="1213778197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endParaRPr lang="es-HN" sz="1000" b="0" dirty="0">
                        <a:solidFill>
                          <a:schemeClr val="tx1"/>
                        </a:solidFill>
                        <a:latin typeface="Abadi MT Condensed Light" panose="020B0306030101010103" pitchFamily="34" charset="77"/>
                      </a:endParaRP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0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30" name="Tabla 12">
            <a:extLst>
              <a:ext uri="{FF2B5EF4-FFF2-40B4-BE49-F238E27FC236}">
                <a16:creationId xmlns:a16="http://schemas.microsoft.com/office/drawing/2014/main" id="{1178BE10-8AD9-A24F-BAF7-6E46C00C03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7108442"/>
              </p:ext>
            </p:extLst>
          </p:nvPr>
        </p:nvGraphicFramePr>
        <p:xfrm>
          <a:off x="4882493" y="3185160"/>
          <a:ext cx="3789345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7869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757869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757869">
                  <a:extLst>
                    <a:ext uri="{9D8B030D-6E8A-4147-A177-3AD203B41FA5}">
                      <a16:colId xmlns:a16="http://schemas.microsoft.com/office/drawing/2014/main" val="2289583996"/>
                    </a:ext>
                  </a:extLst>
                </a:gridCol>
                <a:gridCol w="757869">
                  <a:extLst>
                    <a:ext uri="{9D8B030D-6E8A-4147-A177-3AD203B41FA5}">
                      <a16:colId xmlns:a16="http://schemas.microsoft.com/office/drawing/2014/main" val="740861626"/>
                    </a:ext>
                  </a:extLst>
                </a:gridCol>
                <a:gridCol w="757869">
                  <a:extLst>
                    <a:ext uri="{9D8B030D-6E8A-4147-A177-3AD203B41FA5}">
                      <a16:colId xmlns:a16="http://schemas.microsoft.com/office/drawing/2014/main" val="1082390930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87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3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31" name="Tabla 12">
            <a:extLst>
              <a:ext uri="{FF2B5EF4-FFF2-40B4-BE49-F238E27FC236}">
                <a16:creationId xmlns:a16="http://schemas.microsoft.com/office/drawing/2014/main" id="{8BFCDFA9-34C9-0747-ACD3-317D5E8AAFA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8942181"/>
              </p:ext>
            </p:extLst>
          </p:nvPr>
        </p:nvGraphicFramePr>
        <p:xfrm>
          <a:off x="9156012" y="3152803"/>
          <a:ext cx="2815928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982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703982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703982">
                  <a:extLst>
                    <a:ext uri="{9D8B030D-6E8A-4147-A177-3AD203B41FA5}">
                      <a16:colId xmlns:a16="http://schemas.microsoft.com/office/drawing/2014/main" val="2289583996"/>
                    </a:ext>
                  </a:extLst>
                </a:gridCol>
                <a:gridCol w="703982">
                  <a:extLst>
                    <a:ext uri="{9D8B030D-6E8A-4147-A177-3AD203B41FA5}">
                      <a16:colId xmlns:a16="http://schemas.microsoft.com/office/drawing/2014/main" val="740861626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0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sp>
        <p:nvSpPr>
          <p:cNvPr id="27" name="Title 1">
            <a:extLst>
              <a:ext uri="{FF2B5EF4-FFF2-40B4-BE49-F238E27FC236}">
                <a16:creationId xmlns:a16="http://schemas.microsoft.com/office/drawing/2014/main" id="{6AEA972C-C5DC-CD48-AA52-6A003A8993CE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3190004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1900" dirty="0">
                <a:latin typeface="Abadi" panose="020B0604020104020204" pitchFamily="34" charset="0"/>
              </a:rPr>
              <a:t>Target: H/M 25-45</a:t>
            </a:r>
          </a:p>
          <a:p>
            <a:pPr>
              <a:lnSpc>
                <a:spcPct val="110000"/>
              </a:lnSpc>
            </a:pPr>
            <a:r>
              <a:rPr lang="de-CH" sz="1900" dirty="0">
                <a:latin typeface="Abadi" panose="020B0604020104020204" pitchFamily="34" charset="0"/>
              </a:rPr>
              <a:t>Mayo, 2024 </a:t>
            </a:r>
          </a:p>
        </p:txBody>
      </p:sp>
      <p:pic>
        <p:nvPicPr>
          <p:cNvPr id="3" name="504185241351800-1970-2000.mp3" descr="504185241351800-1970-2000.mp3">
            <a:hlinkClick r:id="" action="ppaction://media"/>
            <a:extLst>
              <a:ext uri="{FF2B5EF4-FFF2-40B4-BE49-F238E27FC236}">
                <a16:creationId xmlns:a16="http://schemas.microsoft.com/office/drawing/2014/main" id="{DFCA3DC8-132B-E641-B05B-DE2A29FC203B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5749680" y="4174811"/>
            <a:ext cx="1530663" cy="1530663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FD10DEBB-04AB-8643-8FDB-900F7B974E54}"/>
              </a:ext>
            </a:extLst>
          </p:cNvPr>
          <p:cNvSpPr txBox="1"/>
          <p:nvPr/>
        </p:nvSpPr>
        <p:spPr>
          <a:xfrm>
            <a:off x="5635153" y="5443654"/>
            <a:ext cx="22840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200" b="1" dirty="0"/>
              <a:t>Fungifar</a:t>
            </a:r>
            <a:r>
              <a:rPr lang="es-HN" sz="1200" dirty="0"/>
              <a:t> : Promoción Vive la Copa</a:t>
            </a:r>
          </a:p>
        </p:txBody>
      </p:sp>
    </p:spTree>
    <p:extLst>
      <p:ext uri="{BB962C8B-B14F-4D97-AF65-F5344CB8AC3E}">
        <p14:creationId xmlns:p14="http://schemas.microsoft.com/office/powerpoint/2010/main" val="2538330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202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  <p:extLst>
    <p:ext uri="{6950BFC3-D8DA-4A85-94F7-54DA5524770B}">
      <p188:commentRel xmlns:p188="http://schemas.microsoft.com/office/powerpoint/2018/8/main" r:id="rId5"/>
    </p:ext>
  </p:extLs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A66843B-C54E-4A68-84F5-289CC97225A7}"/>
              </a:ext>
            </a:extLst>
          </p:cNvPr>
          <p:cNvSpPr/>
          <p:nvPr/>
        </p:nvSpPr>
        <p:spPr>
          <a:xfrm>
            <a:off x="8527333" y="4268136"/>
            <a:ext cx="998979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aphicFrame>
        <p:nvGraphicFramePr>
          <p:cNvPr id="42" name="Marcador de contenido 10">
            <a:extLst>
              <a:ext uri="{FF2B5EF4-FFF2-40B4-BE49-F238E27FC236}">
                <a16:creationId xmlns:a16="http://schemas.microsoft.com/office/drawing/2014/main" id="{D56C3FD9-F7AF-421C-BBFF-8C2B0C4F68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8951993"/>
              </p:ext>
            </p:extLst>
          </p:nvPr>
        </p:nvGraphicFramePr>
        <p:xfrm>
          <a:off x="5871868" y="4172806"/>
          <a:ext cx="6319340" cy="2572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23390A8-F290-43A7-9F96-E609942B5670}"/>
              </a:ext>
            </a:extLst>
          </p:cNvPr>
          <p:cNvSpPr/>
          <p:nvPr/>
        </p:nvSpPr>
        <p:spPr>
          <a:xfrm>
            <a:off x="2466999" y="4260466"/>
            <a:ext cx="90816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D3A9D05-F844-431B-BCAC-44C0143702CC}"/>
              </a:ext>
            </a:extLst>
          </p:cNvPr>
          <p:cNvSpPr/>
          <p:nvPr/>
        </p:nvSpPr>
        <p:spPr>
          <a:xfrm>
            <a:off x="8449036" y="827087"/>
            <a:ext cx="120876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040C8B7-2A6E-412B-9010-BE3A5BB222EA}"/>
              </a:ext>
            </a:extLst>
          </p:cNvPr>
          <p:cNvSpPr/>
          <p:nvPr/>
        </p:nvSpPr>
        <p:spPr>
          <a:xfrm>
            <a:off x="2326372" y="942931"/>
            <a:ext cx="2850204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526" y="-8159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VITAMINA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5871868" y="-56288"/>
            <a:ext cx="0" cy="69827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21" name="Gráfico 16">
            <a:extLst>
              <a:ext uri="{FF2B5EF4-FFF2-40B4-BE49-F238E27FC236}">
                <a16:creationId xmlns:a16="http://schemas.microsoft.com/office/drawing/2014/main" id="{9614D2A4-6A3E-4675-BF63-453B74AC72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41522655"/>
              </p:ext>
            </p:extLst>
          </p:nvPr>
        </p:nvGraphicFramePr>
        <p:xfrm>
          <a:off x="5943595" y="739677"/>
          <a:ext cx="6246693" cy="3414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785628DB-99DF-4C03-B512-C43CDD204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19906435"/>
              </p:ext>
            </p:extLst>
          </p:nvPr>
        </p:nvGraphicFramePr>
        <p:xfrm>
          <a:off x="2344202" y="2816225"/>
          <a:ext cx="3513137" cy="134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9" name="Hoja de cálculo" r:id="rId7" imgW="3784600" imgH="1346200" progId="Excel.Sheet.12">
                  <p:embed/>
                </p:oleObj>
              </mc:Choice>
              <mc:Fallback>
                <p:oleObj name="Hoja de cálculo" r:id="rId7" imgW="3784600" imgH="1346200" progId="Excel.Sheet.12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785628DB-99DF-4C03-B512-C43CDD204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344202" y="2816225"/>
                        <a:ext cx="3513137" cy="1346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7" name="Object 36">
            <a:extLst>
              <a:ext uri="{FF2B5EF4-FFF2-40B4-BE49-F238E27FC236}">
                <a16:creationId xmlns:a16="http://schemas.microsoft.com/office/drawing/2014/main" id="{E3329616-4A16-4E9F-BC32-F9AE170E7EE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407150" y="1119188"/>
          <a:ext cx="5783263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00" name="Hoja de cálculo" r:id="rId9" imgW="4432300" imgH="215900" progId="Excel.Sheet.12">
                  <p:embed/>
                </p:oleObj>
              </mc:Choice>
              <mc:Fallback>
                <p:oleObj name="Hoja de cálculo" r:id="rId9" imgW="4432300" imgH="215900" progId="Excel.Sheet.12">
                  <p:embed/>
                  <p:pic>
                    <p:nvPicPr>
                      <p:cNvPr id="37" name="Object 36">
                        <a:extLst>
                          <a:ext uri="{FF2B5EF4-FFF2-40B4-BE49-F238E27FC236}">
                            <a16:creationId xmlns:a16="http://schemas.microsoft.com/office/drawing/2014/main" id="{E3329616-4A16-4E9F-BC32-F9AE170E7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6407150" y="1119188"/>
                        <a:ext cx="5783263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1">
            <a:extLst>
              <a:ext uri="{FF2B5EF4-FFF2-40B4-BE49-F238E27FC236}">
                <a16:creationId xmlns:a16="http://schemas.microsoft.com/office/drawing/2014/main" id="{55443EAC-93D8-4F92-BFE3-F3628EEB10E7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18-44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 2024 </a:t>
            </a:r>
          </a:p>
        </p:txBody>
      </p:sp>
      <p:pic>
        <p:nvPicPr>
          <p:cNvPr id="45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8CE7A3EC-D360-4CEC-8CF0-14ED42C099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59436C7B-7335-495D-AC94-9D0DC397E2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a 3">
            <a:extLst>
              <a:ext uri="{FF2B5EF4-FFF2-40B4-BE49-F238E27FC236}">
                <a16:creationId xmlns:a16="http://schemas.microsoft.com/office/drawing/2014/main" id="{449A8407-ECBA-1742-BA26-66D819954C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46767323"/>
              </p:ext>
            </p:extLst>
          </p:nvPr>
        </p:nvGraphicFramePr>
        <p:xfrm>
          <a:off x="748420" y="814883"/>
          <a:ext cx="632459" cy="200134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32459">
                  <a:extLst>
                    <a:ext uri="{9D8B030D-6E8A-4147-A177-3AD203B41FA5}">
                      <a16:colId xmlns:a16="http://schemas.microsoft.com/office/drawing/2014/main" val="1185865620"/>
                    </a:ext>
                  </a:extLst>
                </a:gridCol>
              </a:tblGrid>
              <a:tr h="414714">
                <a:tc>
                  <a:txBody>
                    <a:bodyPr/>
                    <a:lstStyle/>
                    <a:p>
                      <a:pPr algn="ctr"/>
                      <a:r>
                        <a:rPr lang="es-HN" sz="1200" dirty="0">
                          <a:latin typeface="Abadi MT Condensed Light" panose="020B0306030101010103" pitchFamily="34" charset="77"/>
                        </a:rPr>
                        <a:t>SO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884866"/>
                  </a:ext>
                </a:extLst>
              </a:tr>
              <a:tr h="528876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4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9576745"/>
                  </a:ext>
                </a:extLst>
              </a:tr>
              <a:tr h="528876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4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6237253"/>
                  </a:ext>
                </a:extLst>
              </a:tr>
              <a:tr h="528876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61232874"/>
                  </a:ext>
                </a:extLst>
              </a:tr>
            </a:tbl>
          </a:graphicData>
        </a:graphic>
      </p:graphicFrame>
      <p:graphicFrame>
        <p:nvGraphicFramePr>
          <p:cNvPr id="20" name="Chart 5">
            <a:extLst>
              <a:ext uri="{FF2B5EF4-FFF2-40B4-BE49-F238E27FC236}">
                <a16:creationId xmlns:a16="http://schemas.microsoft.com/office/drawing/2014/main" id="{F800DDBB-8E4B-6E48-A2BB-DF0FD71742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60025223"/>
              </p:ext>
            </p:extLst>
          </p:nvPr>
        </p:nvGraphicFramePr>
        <p:xfrm>
          <a:off x="1421079" y="929772"/>
          <a:ext cx="4379063" cy="2009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graphicFrame>
        <p:nvGraphicFramePr>
          <p:cNvPr id="23" name="Chart 24">
            <a:extLst>
              <a:ext uri="{FF2B5EF4-FFF2-40B4-BE49-F238E27FC236}">
                <a16:creationId xmlns:a16="http://schemas.microsoft.com/office/drawing/2014/main" id="{871328C6-6D9D-6449-956F-EFE237C215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0736188"/>
              </p:ext>
            </p:extLst>
          </p:nvPr>
        </p:nvGraphicFramePr>
        <p:xfrm>
          <a:off x="-43633" y="4201492"/>
          <a:ext cx="5900972" cy="2685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</p:spTree>
    <p:extLst>
      <p:ext uri="{BB962C8B-B14F-4D97-AF65-F5344CB8AC3E}">
        <p14:creationId xmlns:p14="http://schemas.microsoft.com/office/powerpoint/2010/main" val="297665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8374521-8765-48E6-BD6E-29F7A80E3004}"/>
              </a:ext>
            </a:extLst>
          </p:cNvPr>
          <p:cNvSpPr/>
          <p:nvPr/>
        </p:nvSpPr>
        <p:spPr>
          <a:xfrm>
            <a:off x="9585751" y="816644"/>
            <a:ext cx="176975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6F8AB4D-EADF-4793-B39F-087293A0A55C}"/>
              </a:ext>
            </a:extLst>
          </p:cNvPr>
          <p:cNvSpPr/>
          <p:nvPr/>
        </p:nvSpPr>
        <p:spPr>
          <a:xfrm>
            <a:off x="6105939" y="3714742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A51F7E7F-3005-452B-A37E-6345C488012C}"/>
              </a:ext>
            </a:extLst>
          </p:cNvPr>
          <p:cNvSpPr/>
          <p:nvPr/>
        </p:nvSpPr>
        <p:spPr>
          <a:xfrm>
            <a:off x="1463022" y="3714440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8DA2D12-8206-4D3D-9493-AF5446A62F01}"/>
              </a:ext>
            </a:extLst>
          </p:cNvPr>
          <p:cNvSpPr/>
          <p:nvPr/>
        </p:nvSpPr>
        <p:spPr>
          <a:xfrm>
            <a:off x="914866" y="829674"/>
            <a:ext cx="1946728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355" y="-8437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VITAMINA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CE1A38D-B15D-44B8-8B16-ADBCF0FB153A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18-44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 2024 </a:t>
            </a:r>
          </a:p>
        </p:txBody>
      </p:sp>
      <p:pic>
        <p:nvPicPr>
          <p:cNvPr id="1026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FEEED1DF-8648-4950-89EB-7A9954C08F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27533FF8-4632-48D4-ADB0-357699504C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4321365" y="687166"/>
            <a:ext cx="0" cy="292367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3608125"/>
            <a:ext cx="1237037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6592C3A-4914-420B-9823-54E1CEF44AEF}"/>
              </a:ext>
            </a:extLst>
          </p:cNvPr>
          <p:cNvSpPr/>
          <p:nvPr/>
        </p:nvSpPr>
        <p:spPr>
          <a:xfrm>
            <a:off x="5817753" y="826636"/>
            <a:ext cx="146260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483B254-E4F6-40A3-9B23-E4A24DF0AC0D}"/>
              </a:ext>
            </a:extLst>
          </p:cNvPr>
          <p:cNvSpPr txBox="1"/>
          <p:nvPr/>
        </p:nvSpPr>
        <p:spPr>
          <a:xfrm>
            <a:off x="817038" y="3663238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NEW CREATIV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D43246-8B24-4048-847D-87FACD838830}"/>
              </a:ext>
            </a:extLst>
          </p:cNvPr>
          <p:cNvSpPr txBox="1"/>
          <p:nvPr/>
        </p:nvSpPr>
        <p:spPr>
          <a:xfrm>
            <a:off x="5441913" y="3663237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400" dirty="0"/>
              <a:t>TOP CREATIVES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61D8F93-DC41-4187-9DDC-CAF216947808}"/>
              </a:ext>
            </a:extLst>
          </p:cNvPr>
          <p:cNvCxnSpPr>
            <a:cxnSpLocks/>
          </p:cNvCxnSpPr>
          <p:nvPr/>
        </p:nvCxnSpPr>
        <p:spPr>
          <a:xfrm>
            <a:off x="4335029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7B3C51B-B8A4-4BA3-B6F8-D38845A5B52C}"/>
              </a:ext>
            </a:extLst>
          </p:cNvPr>
          <p:cNvCxnSpPr>
            <a:cxnSpLocks/>
          </p:cNvCxnSpPr>
          <p:nvPr/>
        </p:nvCxnSpPr>
        <p:spPr>
          <a:xfrm>
            <a:off x="9315795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125F62A-9C20-4B7B-9329-07AF495224FD}"/>
              </a:ext>
            </a:extLst>
          </p:cNvPr>
          <p:cNvSpPr txBox="1"/>
          <p:nvPr/>
        </p:nvSpPr>
        <p:spPr>
          <a:xfrm>
            <a:off x="9360100" y="3634864"/>
            <a:ext cx="2737756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dirty="0">
                <a:latin typeface="Abadi" panose="020B0604020104020204" pitchFamily="34" charset="0"/>
              </a:rPr>
              <a:t>Aprendizajes:</a:t>
            </a:r>
          </a:p>
          <a:p>
            <a:r>
              <a:rPr lang="es-MX" sz="1200" dirty="0">
                <a:latin typeface="Abadi" panose="020B0604020104020204" pitchFamily="34" charset="0"/>
              </a:rPr>
              <a:t>La categoría se activa a partir de marzo. Participan 3 marcas, Teramin y Bioimil, que vienen teniendo actividad desde el 2023 y Amino Pep que tiene su lanzamiento en Mayo, con apoyo fuerte concentrado en TV.</a:t>
            </a:r>
          </a:p>
          <a:p>
            <a:r>
              <a:rPr lang="es-MX" sz="1200" dirty="0">
                <a:latin typeface="Abadi" panose="020B0604020104020204" pitchFamily="34" charset="0"/>
              </a:rPr>
              <a:t>El medio principal es TV con el 75% del mix. Radio es el medio de apoyo, utilizado por Biomil principalmente. </a:t>
            </a:r>
          </a:p>
          <a:p>
            <a:r>
              <a:rPr lang="es-MX" sz="1200" dirty="0">
                <a:latin typeface="Abadi" panose="020B0604020104020204" pitchFamily="34" charset="0"/>
              </a:rPr>
              <a:t>Cebión no muestra actividad en lo que va del año </a:t>
            </a:r>
          </a:p>
          <a:p>
            <a:endParaRPr lang="es-MX" sz="1200" dirty="0">
              <a:latin typeface="Abadi" panose="020B0604020104020204" pitchFamily="34" charset="0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1AB5A22-D25F-4A53-8305-C43193081AA7}"/>
              </a:ext>
            </a:extLst>
          </p:cNvPr>
          <p:cNvCxnSpPr>
            <a:cxnSpLocks/>
          </p:cNvCxnSpPr>
          <p:nvPr/>
        </p:nvCxnSpPr>
        <p:spPr>
          <a:xfrm>
            <a:off x="8719463" y="-194425"/>
            <a:ext cx="0" cy="3809329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65" name="Chart 64">
            <a:extLst>
              <a:ext uri="{FF2B5EF4-FFF2-40B4-BE49-F238E27FC236}">
                <a16:creationId xmlns:a16="http://schemas.microsoft.com/office/drawing/2014/main" id="{F99528B7-E46E-4001-AE6D-7F23D6E800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25785313"/>
              </p:ext>
            </p:extLst>
          </p:nvPr>
        </p:nvGraphicFramePr>
        <p:xfrm>
          <a:off x="8741231" y="728089"/>
          <a:ext cx="3450769" cy="2790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graphicFrame>
        <p:nvGraphicFramePr>
          <p:cNvPr id="68" name="Chart 26">
            <a:extLst>
              <a:ext uri="{FF2B5EF4-FFF2-40B4-BE49-F238E27FC236}">
                <a16:creationId xmlns:a16="http://schemas.microsoft.com/office/drawing/2014/main" id="{2A791AC6-E953-FC48-B96D-327F850B31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6030314"/>
              </p:ext>
            </p:extLst>
          </p:nvPr>
        </p:nvGraphicFramePr>
        <p:xfrm>
          <a:off x="4285954" y="765083"/>
          <a:ext cx="4420391" cy="2738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36" name="Chart 26">
            <a:extLst>
              <a:ext uri="{FF2B5EF4-FFF2-40B4-BE49-F238E27FC236}">
                <a16:creationId xmlns:a16="http://schemas.microsoft.com/office/drawing/2014/main" id="{7FAB2C9D-9CDA-F94B-8724-8E0C026FE2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59941333"/>
              </p:ext>
            </p:extLst>
          </p:nvPr>
        </p:nvGraphicFramePr>
        <p:xfrm>
          <a:off x="52747" y="750534"/>
          <a:ext cx="3432910" cy="2810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graphicFrame>
        <p:nvGraphicFramePr>
          <p:cNvPr id="37" name="Tabla 10">
            <a:extLst>
              <a:ext uri="{FF2B5EF4-FFF2-40B4-BE49-F238E27FC236}">
                <a16:creationId xmlns:a16="http://schemas.microsoft.com/office/drawing/2014/main" id="{BC723314-3399-0544-8CF1-BD6948444B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1705719"/>
              </p:ext>
            </p:extLst>
          </p:nvPr>
        </p:nvGraphicFramePr>
        <p:xfrm>
          <a:off x="3381060" y="817991"/>
          <a:ext cx="939510" cy="2370023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469755">
                  <a:extLst>
                    <a:ext uri="{9D8B030D-6E8A-4147-A177-3AD203B41FA5}">
                      <a16:colId xmlns:a16="http://schemas.microsoft.com/office/drawing/2014/main" val="3008694403"/>
                    </a:ext>
                  </a:extLst>
                </a:gridCol>
                <a:gridCol w="469755">
                  <a:extLst>
                    <a:ext uri="{9D8B030D-6E8A-4147-A177-3AD203B41FA5}">
                      <a16:colId xmlns:a16="http://schemas.microsoft.com/office/drawing/2014/main" val="3416773461"/>
                    </a:ext>
                  </a:extLst>
                </a:gridCol>
              </a:tblGrid>
              <a:tr h="350117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Grp’s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SOV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843301"/>
                  </a:ext>
                </a:extLst>
              </a:tr>
              <a:tr h="673302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2,86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5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4059227"/>
                  </a:ext>
                </a:extLst>
              </a:tr>
              <a:tr h="673302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1,31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4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62429515"/>
                  </a:ext>
                </a:extLst>
              </a:tr>
              <a:tr h="673302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93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latin typeface="Abadi MT Condensed Light" panose="020B0306030101010103" pitchFamily="34" charset="77"/>
                        </a:rPr>
                        <a:t>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49076578"/>
                  </a:ext>
                </a:extLst>
              </a:tr>
            </a:tbl>
          </a:graphicData>
        </a:graphic>
      </p:graphicFrame>
      <p:graphicFrame>
        <p:nvGraphicFramePr>
          <p:cNvPr id="26" name="Tabla 12">
            <a:extLst>
              <a:ext uri="{FF2B5EF4-FFF2-40B4-BE49-F238E27FC236}">
                <a16:creationId xmlns:a16="http://schemas.microsoft.com/office/drawing/2014/main" id="{D64BFC58-BFBC-EF4E-A0ED-0CEFEE877B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509295"/>
              </p:ext>
            </p:extLst>
          </p:nvPr>
        </p:nvGraphicFramePr>
        <p:xfrm>
          <a:off x="1343157" y="3405217"/>
          <a:ext cx="1917123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9041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639041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639041">
                  <a:extLst>
                    <a:ext uri="{9D8B030D-6E8A-4147-A177-3AD203B41FA5}">
                      <a16:colId xmlns:a16="http://schemas.microsoft.com/office/drawing/2014/main" val="1407944877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43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32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24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27" name="Tabla 12">
            <a:extLst>
              <a:ext uri="{FF2B5EF4-FFF2-40B4-BE49-F238E27FC236}">
                <a16:creationId xmlns:a16="http://schemas.microsoft.com/office/drawing/2014/main" id="{FC689F7C-49A2-904F-BD89-31C568DD36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3247872"/>
              </p:ext>
            </p:extLst>
          </p:nvPr>
        </p:nvGraphicFramePr>
        <p:xfrm>
          <a:off x="4600450" y="3278438"/>
          <a:ext cx="3910295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2059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782059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782059">
                  <a:extLst>
                    <a:ext uri="{9D8B030D-6E8A-4147-A177-3AD203B41FA5}">
                      <a16:colId xmlns:a16="http://schemas.microsoft.com/office/drawing/2014/main" val="2289583996"/>
                    </a:ext>
                  </a:extLst>
                </a:gridCol>
                <a:gridCol w="782059">
                  <a:extLst>
                    <a:ext uri="{9D8B030D-6E8A-4147-A177-3AD203B41FA5}">
                      <a16:colId xmlns:a16="http://schemas.microsoft.com/office/drawing/2014/main" val="3810254947"/>
                    </a:ext>
                  </a:extLst>
                </a:gridCol>
                <a:gridCol w="782059">
                  <a:extLst>
                    <a:ext uri="{9D8B030D-6E8A-4147-A177-3AD203B41FA5}">
                      <a16:colId xmlns:a16="http://schemas.microsoft.com/office/drawing/2014/main" val="1680873913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45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-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2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3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28" name="Tabla 12">
            <a:extLst>
              <a:ext uri="{FF2B5EF4-FFF2-40B4-BE49-F238E27FC236}">
                <a16:creationId xmlns:a16="http://schemas.microsoft.com/office/drawing/2014/main" id="{EFBF75BA-047D-6246-A6CE-2A61E12C5C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87823697"/>
              </p:ext>
            </p:extLst>
          </p:nvPr>
        </p:nvGraphicFramePr>
        <p:xfrm>
          <a:off x="9754712" y="3288579"/>
          <a:ext cx="1844247" cy="243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4749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614749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614749">
                  <a:extLst>
                    <a:ext uri="{9D8B030D-6E8A-4147-A177-3AD203B41FA5}">
                      <a16:colId xmlns:a16="http://schemas.microsoft.com/office/drawing/2014/main" val="2289583996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9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4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35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pic>
        <p:nvPicPr>
          <p:cNvPr id="3" name="50401123142100000-1890-1900.mp4" descr="50401123142100000-1890-1900.mp4">
            <a:hlinkClick r:id="" action="ppaction://media"/>
            <a:extLst>
              <a:ext uri="{FF2B5EF4-FFF2-40B4-BE49-F238E27FC236}">
                <a16:creationId xmlns:a16="http://schemas.microsoft.com/office/drawing/2014/main" id="{08C7A4A7-3DCA-5844-892D-587FEB15B1B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9"/>
          <a:stretch>
            <a:fillRect/>
          </a:stretch>
        </p:blipFill>
        <p:spPr>
          <a:xfrm>
            <a:off x="6620626" y="4070942"/>
            <a:ext cx="1981835" cy="1116527"/>
          </a:xfrm>
          <a:prstGeom prst="rect">
            <a:avLst/>
          </a:prstGeom>
        </p:spPr>
      </p:pic>
      <p:sp>
        <p:nvSpPr>
          <p:cNvPr id="30" name="TextBox 48">
            <a:extLst>
              <a:ext uri="{FF2B5EF4-FFF2-40B4-BE49-F238E27FC236}">
                <a16:creationId xmlns:a16="http://schemas.microsoft.com/office/drawing/2014/main" id="{6A9AB288-7B79-B740-B9C2-F7268B9D21F7}"/>
              </a:ext>
            </a:extLst>
          </p:cNvPr>
          <p:cNvSpPr txBox="1"/>
          <p:nvPr/>
        </p:nvSpPr>
        <p:spPr>
          <a:xfrm>
            <a:off x="6714490" y="5194372"/>
            <a:ext cx="19171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b="1" dirty="0">
                <a:latin typeface="Abadi" panose="020B0604020104020204" pitchFamily="34" charset="0"/>
              </a:rPr>
              <a:t>Biiomil </a:t>
            </a:r>
            <a:r>
              <a:rPr lang="es-MX" sz="1000" dirty="0">
                <a:latin typeface="Abadi" panose="020B0604020104020204" pitchFamily="34" charset="0"/>
              </a:rPr>
              <a:t> - Protege y fortalece tus defenzas</a:t>
            </a:r>
          </a:p>
        </p:txBody>
      </p:sp>
      <p:pic>
        <p:nvPicPr>
          <p:cNvPr id="5" name="504302231151200-2031-2056.mp3" descr="504302231151200-2031-2056.mp3">
            <a:hlinkClick r:id="" action="ppaction://media"/>
            <a:extLst>
              <a:ext uri="{FF2B5EF4-FFF2-40B4-BE49-F238E27FC236}">
                <a16:creationId xmlns:a16="http://schemas.microsoft.com/office/drawing/2014/main" id="{982FEE4F-7DD7-8B45-9B13-1930653D3DEB}"/>
              </a:ext>
            </a:extLst>
          </p:cNvPr>
          <p:cNvPicPr>
            <a:picLocks noChangeAspect="1"/>
          </p:cNvPicPr>
          <p:nvPr>
            <a:audi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20"/>
          <a:stretch>
            <a:fillRect/>
          </a:stretch>
        </p:blipFill>
        <p:spPr>
          <a:xfrm>
            <a:off x="6599901" y="5601385"/>
            <a:ext cx="812800" cy="812800"/>
          </a:xfrm>
          <a:prstGeom prst="rect">
            <a:avLst/>
          </a:prstGeom>
        </p:spPr>
      </p:pic>
      <p:sp>
        <p:nvSpPr>
          <p:cNvPr id="34" name="TextBox 48">
            <a:extLst>
              <a:ext uri="{FF2B5EF4-FFF2-40B4-BE49-F238E27FC236}">
                <a16:creationId xmlns:a16="http://schemas.microsoft.com/office/drawing/2014/main" id="{04F5B25A-6188-D541-A1D6-E22C87425908}"/>
              </a:ext>
            </a:extLst>
          </p:cNvPr>
          <p:cNvSpPr txBox="1"/>
          <p:nvPr/>
        </p:nvSpPr>
        <p:spPr>
          <a:xfrm>
            <a:off x="7317936" y="5754365"/>
            <a:ext cx="152148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b="1" dirty="0">
                <a:latin typeface="Abadi" panose="020B0604020104020204" pitchFamily="34" charset="0"/>
              </a:rPr>
              <a:t>Biiomil </a:t>
            </a:r>
            <a:r>
              <a:rPr lang="es-MX" sz="1000" dirty="0">
                <a:latin typeface="Abadi" panose="020B0604020104020204" pitchFamily="34" charset="0"/>
              </a:rPr>
              <a:t> - Protege </a:t>
            </a:r>
          </a:p>
          <a:p>
            <a:pPr algn="ctr"/>
            <a:r>
              <a:rPr lang="es-MX" sz="1000" dirty="0">
                <a:latin typeface="Abadi" panose="020B0604020104020204" pitchFamily="34" charset="0"/>
              </a:rPr>
              <a:t>y fortalece tus defenzas</a:t>
            </a:r>
          </a:p>
          <a:p>
            <a:pPr algn="ctr"/>
            <a:r>
              <a:rPr lang="es-MX" sz="1000" dirty="0">
                <a:latin typeface="Abadi" panose="020B0604020104020204" pitchFamily="34" charset="0"/>
              </a:rPr>
              <a:t>(Radio)</a:t>
            </a:r>
          </a:p>
        </p:txBody>
      </p:sp>
      <p:pic>
        <p:nvPicPr>
          <p:cNvPr id="7" name="50406024076090000-3454-3482.mp4" descr="50406024076090000-3454-3482.mp4">
            <a:hlinkClick r:id="" action="ppaction://media"/>
            <a:extLst>
              <a:ext uri="{FF2B5EF4-FFF2-40B4-BE49-F238E27FC236}">
                <a16:creationId xmlns:a16="http://schemas.microsoft.com/office/drawing/2014/main" id="{B7C313B2-B68C-AE47-B1CB-374F1B68F542}"/>
              </a:ext>
            </a:extLst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4460380" y="4070163"/>
            <a:ext cx="1777732" cy="1135087"/>
          </a:xfrm>
          <a:prstGeom prst="rect">
            <a:avLst/>
          </a:prstGeom>
        </p:spPr>
      </p:pic>
      <p:sp>
        <p:nvSpPr>
          <p:cNvPr id="35" name="TextBox 48">
            <a:extLst>
              <a:ext uri="{FF2B5EF4-FFF2-40B4-BE49-F238E27FC236}">
                <a16:creationId xmlns:a16="http://schemas.microsoft.com/office/drawing/2014/main" id="{390C9E18-C325-814B-8A5D-88026C0ED4B9}"/>
              </a:ext>
            </a:extLst>
          </p:cNvPr>
          <p:cNvSpPr txBox="1"/>
          <p:nvPr/>
        </p:nvSpPr>
        <p:spPr>
          <a:xfrm>
            <a:off x="4388940" y="5226613"/>
            <a:ext cx="19171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b="1" dirty="0">
                <a:latin typeface="Abadi" panose="020B0604020104020204" pitchFamily="34" charset="0"/>
              </a:rPr>
              <a:t>Teramin </a:t>
            </a:r>
            <a:r>
              <a:rPr lang="es-MX" sz="1000" dirty="0">
                <a:latin typeface="Abadi" panose="020B0604020104020204" pitchFamily="34" charset="0"/>
              </a:rPr>
              <a:t> - La clave para una vida saludable</a:t>
            </a:r>
          </a:p>
        </p:txBody>
      </p:sp>
      <p:pic>
        <p:nvPicPr>
          <p:cNvPr id="10" name="50400924150200000-2790-2800.mp4" descr="50400924150200000-2790-2800.mp4">
            <a:hlinkClick r:id="" action="ppaction://media"/>
            <a:extLst>
              <a:ext uri="{FF2B5EF4-FFF2-40B4-BE49-F238E27FC236}">
                <a16:creationId xmlns:a16="http://schemas.microsoft.com/office/drawing/2014/main" id="{207B0369-359D-3848-980B-6047E682CB38}"/>
              </a:ext>
            </a:extLst>
          </p:cNvPr>
          <p:cNvPicPr>
            <a:picLocks noChangeAspect="1"/>
          </p:cNvPicPr>
          <p:nvPr>
            <a:vide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22"/>
          <a:stretch>
            <a:fillRect/>
          </a:stretch>
        </p:blipFill>
        <p:spPr>
          <a:xfrm>
            <a:off x="320987" y="4069168"/>
            <a:ext cx="1911281" cy="1125204"/>
          </a:xfrm>
          <a:prstGeom prst="rect">
            <a:avLst/>
          </a:prstGeom>
        </p:spPr>
      </p:pic>
      <p:pic>
        <p:nvPicPr>
          <p:cNvPr id="11" name="50401124144210000-1540-1568.mp4" descr="50401124144210000-1540-1568.mp4">
            <a:hlinkClick r:id="" action="ppaction://media"/>
            <a:extLst>
              <a:ext uri="{FF2B5EF4-FFF2-40B4-BE49-F238E27FC236}">
                <a16:creationId xmlns:a16="http://schemas.microsoft.com/office/drawing/2014/main" id="{91C93257-A402-1C4D-B43D-E3D40AB241E5}"/>
              </a:ext>
            </a:extLst>
          </p:cNvPr>
          <p:cNvPicPr>
            <a:picLocks noChangeAspect="1"/>
          </p:cNvPicPr>
          <p:nvPr>
            <a:videoFile r:link="rId10"/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3"/>
          <a:stretch>
            <a:fillRect/>
          </a:stretch>
        </p:blipFill>
        <p:spPr>
          <a:xfrm>
            <a:off x="2328007" y="4069168"/>
            <a:ext cx="1911283" cy="1157439"/>
          </a:xfrm>
          <a:prstGeom prst="rect">
            <a:avLst/>
          </a:prstGeom>
        </p:spPr>
      </p:pic>
      <p:sp>
        <p:nvSpPr>
          <p:cNvPr id="39" name="TextBox 48">
            <a:extLst>
              <a:ext uri="{FF2B5EF4-FFF2-40B4-BE49-F238E27FC236}">
                <a16:creationId xmlns:a16="http://schemas.microsoft.com/office/drawing/2014/main" id="{6CD75A41-ED72-114C-9BF0-E3EDE16F7036}"/>
              </a:ext>
            </a:extLst>
          </p:cNvPr>
          <p:cNvSpPr txBox="1"/>
          <p:nvPr/>
        </p:nvSpPr>
        <p:spPr>
          <a:xfrm>
            <a:off x="283535" y="5205609"/>
            <a:ext cx="19171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b="1" dirty="0">
                <a:latin typeface="Abadi" panose="020B0604020104020204" pitchFamily="34" charset="0"/>
              </a:rPr>
              <a:t>Amino Pep </a:t>
            </a:r>
            <a:r>
              <a:rPr lang="es-MX" sz="1000" dirty="0">
                <a:latin typeface="Abadi" panose="020B0604020104020204" pitchFamily="34" charset="0"/>
              </a:rPr>
              <a:t> - Salidas a corte</a:t>
            </a:r>
          </a:p>
        </p:txBody>
      </p:sp>
      <p:sp>
        <p:nvSpPr>
          <p:cNvPr id="40" name="TextBox 48">
            <a:extLst>
              <a:ext uri="{FF2B5EF4-FFF2-40B4-BE49-F238E27FC236}">
                <a16:creationId xmlns:a16="http://schemas.microsoft.com/office/drawing/2014/main" id="{4B8170BF-9796-D34B-9284-6BFF731FBFC9}"/>
              </a:ext>
            </a:extLst>
          </p:cNvPr>
          <p:cNvSpPr txBox="1"/>
          <p:nvPr/>
        </p:nvSpPr>
        <p:spPr>
          <a:xfrm>
            <a:off x="2333936" y="5205609"/>
            <a:ext cx="19171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000" b="1" dirty="0">
                <a:latin typeface="Abadi" panose="020B0604020104020204" pitchFamily="34" charset="0"/>
              </a:rPr>
              <a:t>Amino Pep </a:t>
            </a:r>
            <a:r>
              <a:rPr lang="es-MX" sz="1000" dirty="0">
                <a:latin typeface="Abadi" panose="020B0604020104020204" pitchFamily="34" charset="0"/>
              </a:rPr>
              <a:t> - Listos para bailar</a:t>
            </a:r>
          </a:p>
        </p:txBody>
      </p:sp>
    </p:spTree>
    <p:extLst>
      <p:ext uri="{BB962C8B-B14F-4D97-AF65-F5344CB8AC3E}">
        <p14:creationId xmlns:p14="http://schemas.microsoft.com/office/powerpoint/2010/main" val="3436369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7036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5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  <p:video>
              <p:cMediaNode vol="80000">
                <p:cTn id="19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20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1" fill="hold">
                      <p:stCondLst>
                        <p:cond delay="0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4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25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0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31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</p:childTnLst>
        </p:cTn>
      </p:par>
    </p:tnLst>
  </p:timing>
  <p:extLst>
    <p:ext uri="{6950BFC3-D8DA-4A85-94F7-54DA5524770B}">
      <p188:commentRel xmlns:p188="http://schemas.microsoft.com/office/powerpoint/2018/8/main" r:id="rId13"/>
    </p:ext>
  </p:extLs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cs typeface="Arial"/>
              </a:rPr>
              <a:t>Doris - Validation and Testing Effort</a:t>
            </a:r>
            <a:endParaRPr kumimoji="0" lang="en-US" sz="7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D9179-7A6B-4268-BEB2-F3B8EB06115B}" type="slidenum">
              <a:rPr kumimoji="0" lang="en-US" sz="7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Arial"/>
                <a:cs typeface="Arial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7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Thank you!</a:t>
            </a:r>
          </a:p>
        </p:txBody>
      </p:sp>
      <p:pic>
        <p:nvPicPr>
          <p:cNvPr id="10" name="Picture Placeholder 9"/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7" r="25007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278673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23390A8-F290-43A7-9F96-E609942B5670}"/>
              </a:ext>
            </a:extLst>
          </p:cNvPr>
          <p:cNvSpPr/>
          <p:nvPr/>
        </p:nvSpPr>
        <p:spPr>
          <a:xfrm>
            <a:off x="2486469" y="4166294"/>
            <a:ext cx="90816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5" name="Chart 24">
            <a:extLst>
              <a:ext uri="{FF2B5EF4-FFF2-40B4-BE49-F238E27FC236}">
                <a16:creationId xmlns:a16="http://schemas.microsoft.com/office/drawing/2014/main" id="{CB19B07B-0964-53B1-9360-972CE7ECCCF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37851594"/>
              </p:ext>
            </p:extLst>
          </p:nvPr>
        </p:nvGraphicFramePr>
        <p:xfrm>
          <a:off x="0" y="4116566"/>
          <a:ext cx="5900972" cy="2685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" name="Gráfico 3">
            <a:extLst>
              <a:ext uri="{FF2B5EF4-FFF2-40B4-BE49-F238E27FC236}">
                <a16:creationId xmlns:a16="http://schemas.microsoft.com/office/drawing/2014/main" id="{B2A67DB3-B966-B34D-A24B-7A262E981C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0623074"/>
              </p:ext>
            </p:extLst>
          </p:nvPr>
        </p:nvGraphicFramePr>
        <p:xfrm>
          <a:off x="399005" y="1150938"/>
          <a:ext cx="5198907" cy="3142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A66843B-C54E-4A68-84F5-289CC97225A7}"/>
              </a:ext>
            </a:extLst>
          </p:cNvPr>
          <p:cNvSpPr/>
          <p:nvPr/>
        </p:nvSpPr>
        <p:spPr>
          <a:xfrm>
            <a:off x="8527333" y="4268136"/>
            <a:ext cx="998979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2" name="Marcador de contenido 10">
            <a:extLst>
              <a:ext uri="{FF2B5EF4-FFF2-40B4-BE49-F238E27FC236}">
                <a16:creationId xmlns:a16="http://schemas.microsoft.com/office/drawing/2014/main" id="{D56C3FD9-F7AF-421C-BBFF-8C2B0C4F68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6537433"/>
              </p:ext>
            </p:extLst>
          </p:nvPr>
        </p:nvGraphicFramePr>
        <p:xfrm>
          <a:off x="5871868" y="4172806"/>
          <a:ext cx="6319340" cy="2572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D3A9D05-F844-431B-BCAC-44C0143702CC}"/>
              </a:ext>
            </a:extLst>
          </p:cNvPr>
          <p:cNvSpPr/>
          <p:nvPr/>
        </p:nvSpPr>
        <p:spPr>
          <a:xfrm>
            <a:off x="8449036" y="827087"/>
            <a:ext cx="120876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040C8B7-2A6E-412B-9010-BE3A5BB222EA}"/>
              </a:ext>
            </a:extLst>
          </p:cNvPr>
          <p:cNvSpPr/>
          <p:nvPr/>
        </p:nvSpPr>
        <p:spPr>
          <a:xfrm>
            <a:off x="1754149" y="836450"/>
            <a:ext cx="2850204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 b="1" i="0" u="none" strike="noStrike" kern="1200" baseline="0">
                <a:solidFill>
                  <a:prstClr val="black">
                    <a:lumMod val="65000"/>
                    <a:lumOff val="35000"/>
                  </a:prst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SOI BY BRAND ($</a:t>
            </a:r>
            <a:r>
              <a:rPr lang="en-US" sz="1200" b="1" dirty="0">
                <a:solidFill>
                  <a:prstClr val="black"/>
                </a:solidFill>
                <a:latin typeface="Abadi" panose="020B0604020104020204" pitchFamily="34" charset="0"/>
              </a:rPr>
              <a:t>3,862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K) – </a:t>
            </a:r>
            <a:r>
              <a:rPr lang="en-US" sz="1200" b="1" dirty="0">
                <a:solidFill>
                  <a:prstClr val="black"/>
                </a:solidFill>
                <a:latin typeface="Abadi" panose="020B0604020104020204" pitchFamily="34" charset="0"/>
              </a:rPr>
              <a:t>Ju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YT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408" y="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ALGÉSICOS 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5871868" y="-56288"/>
            <a:ext cx="0" cy="69827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4154266"/>
            <a:ext cx="12221107" cy="10448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21" name="Gráfico 16">
            <a:extLst>
              <a:ext uri="{FF2B5EF4-FFF2-40B4-BE49-F238E27FC236}">
                <a16:creationId xmlns:a16="http://schemas.microsoft.com/office/drawing/2014/main" id="{9614D2A4-6A3E-4675-BF63-453B74AC72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9648091"/>
              </p:ext>
            </p:extLst>
          </p:nvPr>
        </p:nvGraphicFramePr>
        <p:xfrm>
          <a:off x="5802919" y="739677"/>
          <a:ext cx="6246693" cy="3414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785628DB-99DF-4C03-B512-C43CDD204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9959432"/>
              </p:ext>
            </p:extLst>
          </p:nvPr>
        </p:nvGraphicFramePr>
        <p:xfrm>
          <a:off x="2342140" y="2545736"/>
          <a:ext cx="3323801" cy="134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3" name="Hoja de cálculo" r:id="rId9" imgW="3581400" imgH="1346200" progId="Excel.Sheet.12">
                  <p:embed/>
                </p:oleObj>
              </mc:Choice>
              <mc:Fallback>
                <p:oleObj name="Hoja de cálculo" r:id="rId9" imgW="3581400" imgH="1346200" progId="Excel.Sheet.12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785628DB-99DF-4C03-B512-C43CDD204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342140" y="2545736"/>
                        <a:ext cx="3323801" cy="1346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7" name="Object 36">
            <a:extLst>
              <a:ext uri="{FF2B5EF4-FFF2-40B4-BE49-F238E27FC236}">
                <a16:creationId xmlns:a16="http://schemas.microsoft.com/office/drawing/2014/main" id="{E3329616-4A16-4E9F-BC32-F9AE170E7E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87695151"/>
              </p:ext>
            </p:extLst>
          </p:nvPr>
        </p:nvGraphicFramePr>
        <p:xfrm>
          <a:off x="6266519" y="1125538"/>
          <a:ext cx="5783093" cy="203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4" name="Hoja de cálculo" r:id="rId11" imgW="4432300" imgH="203200" progId="Excel.Sheet.12">
                  <p:embed/>
                </p:oleObj>
              </mc:Choice>
              <mc:Fallback>
                <p:oleObj name="Hoja de cálculo" r:id="rId11" imgW="4432300" imgH="203200" progId="Excel.Sheet.12">
                  <p:embed/>
                  <p:pic>
                    <p:nvPicPr>
                      <p:cNvPr id="37" name="Object 36">
                        <a:extLst>
                          <a:ext uri="{FF2B5EF4-FFF2-40B4-BE49-F238E27FC236}">
                            <a16:creationId xmlns:a16="http://schemas.microsoft.com/office/drawing/2014/main" id="{E3329616-4A16-4E9F-BC32-F9AE170E7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6266519" y="1125538"/>
                        <a:ext cx="5783093" cy="203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1">
            <a:extLst>
              <a:ext uri="{FF2B5EF4-FFF2-40B4-BE49-F238E27FC236}">
                <a16:creationId xmlns:a16="http://schemas.microsoft.com/office/drawing/2014/main" id="{55443EAC-93D8-4F92-BFE3-F3628EEB10E7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Target: H/M 25-60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Junio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 2024 </a:t>
            </a:r>
          </a:p>
        </p:txBody>
      </p:sp>
      <p:pic>
        <p:nvPicPr>
          <p:cNvPr id="45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8CE7A3EC-D360-4CEC-8CF0-14ED42C099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59436C7B-7335-495D-AC94-9D0DC397E2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a 3">
            <a:extLst>
              <a:ext uri="{FF2B5EF4-FFF2-40B4-BE49-F238E27FC236}">
                <a16:creationId xmlns:a16="http://schemas.microsoft.com/office/drawing/2014/main" id="{449A8407-ECBA-1742-BA26-66D819954C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6381997"/>
              </p:ext>
            </p:extLst>
          </p:nvPr>
        </p:nvGraphicFramePr>
        <p:xfrm>
          <a:off x="112787" y="1009011"/>
          <a:ext cx="370205" cy="3144643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70205">
                  <a:extLst>
                    <a:ext uri="{9D8B030D-6E8A-4147-A177-3AD203B41FA5}">
                      <a16:colId xmlns:a16="http://schemas.microsoft.com/office/drawing/2014/main" val="1185865620"/>
                    </a:ext>
                  </a:extLst>
                </a:gridCol>
              </a:tblGrid>
              <a:tr h="224311">
                <a:tc>
                  <a:txBody>
                    <a:bodyPr/>
                    <a:lstStyle/>
                    <a:p>
                      <a:r>
                        <a:rPr lang="es-HN" sz="900" dirty="0">
                          <a:latin typeface="Abadi MT Condensed Light" panose="020B0306030101010103" pitchFamily="34" charset="77"/>
                        </a:rPr>
                        <a:t>SO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884866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2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9576745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1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6237253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6364691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66960156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60933986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95869678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2891413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6573940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3250975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89532608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5612186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79675282"/>
                  </a:ext>
                </a:extLst>
              </a:tr>
              <a:tr h="22431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58949371"/>
                  </a:ext>
                </a:extLst>
              </a:tr>
            </a:tbl>
          </a:graphicData>
        </a:graphic>
      </p:graphicFrame>
      <p:graphicFrame>
        <p:nvGraphicFramePr>
          <p:cNvPr id="6" name="Tabla 6">
            <a:extLst>
              <a:ext uri="{FF2B5EF4-FFF2-40B4-BE49-F238E27FC236}">
                <a16:creationId xmlns:a16="http://schemas.microsoft.com/office/drawing/2014/main" id="{C8C60D8F-556A-EC4B-A17E-092C49FBBE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2907655"/>
              </p:ext>
            </p:extLst>
          </p:nvPr>
        </p:nvGraphicFramePr>
        <p:xfrm>
          <a:off x="2224802" y="6626853"/>
          <a:ext cx="1694045" cy="20537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38809">
                  <a:extLst>
                    <a:ext uri="{9D8B030D-6E8A-4147-A177-3AD203B41FA5}">
                      <a16:colId xmlns:a16="http://schemas.microsoft.com/office/drawing/2014/main" val="2101167297"/>
                    </a:ext>
                  </a:extLst>
                </a:gridCol>
                <a:gridCol w="338809">
                  <a:extLst>
                    <a:ext uri="{9D8B030D-6E8A-4147-A177-3AD203B41FA5}">
                      <a16:colId xmlns:a16="http://schemas.microsoft.com/office/drawing/2014/main" val="1928440942"/>
                    </a:ext>
                  </a:extLst>
                </a:gridCol>
                <a:gridCol w="338809">
                  <a:extLst>
                    <a:ext uri="{9D8B030D-6E8A-4147-A177-3AD203B41FA5}">
                      <a16:colId xmlns:a16="http://schemas.microsoft.com/office/drawing/2014/main" val="3664828121"/>
                    </a:ext>
                  </a:extLst>
                </a:gridCol>
                <a:gridCol w="338809">
                  <a:extLst>
                    <a:ext uri="{9D8B030D-6E8A-4147-A177-3AD203B41FA5}">
                      <a16:colId xmlns:a16="http://schemas.microsoft.com/office/drawing/2014/main" val="4271593544"/>
                    </a:ext>
                  </a:extLst>
                </a:gridCol>
                <a:gridCol w="338809">
                  <a:extLst>
                    <a:ext uri="{9D8B030D-6E8A-4147-A177-3AD203B41FA5}">
                      <a16:colId xmlns:a16="http://schemas.microsoft.com/office/drawing/2014/main" val="107594275"/>
                    </a:ext>
                  </a:extLst>
                </a:gridCol>
              </a:tblGrid>
              <a:tr h="205370">
                <a:tc>
                  <a:txBody>
                    <a:bodyPr/>
                    <a:lstStyle/>
                    <a:p>
                      <a:r>
                        <a:rPr lang="es-HN" sz="700" b="0" dirty="0">
                          <a:latin typeface="Abadi MT Condensed Light" panose="020B0306030101010103" pitchFamily="34" charset="77"/>
                        </a:rPr>
                        <a:t>7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HN" sz="700" b="0" dirty="0"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HN" sz="700" b="0" dirty="0">
                          <a:latin typeface="Abadi MT Condensed Light" panose="020B0306030101010103" pitchFamily="34" charset="77"/>
                        </a:rPr>
                        <a:t>22%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HN" sz="700" b="0" dirty="0">
                          <a:latin typeface="Abadi MT Condensed Light" panose="020B0306030101010103" pitchFamily="34" charset="77"/>
                        </a:rPr>
                        <a:t>0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HN" sz="700" b="0" dirty="0">
                          <a:latin typeface="Abadi MT Condensed Light" panose="020B0306030101010103" pitchFamily="34" charset="77"/>
                        </a:rPr>
                        <a:t>1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155230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63444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6592C3A-4914-420B-9823-54E1CEF44AEF}"/>
              </a:ext>
            </a:extLst>
          </p:cNvPr>
          <p:cNvSpPr/>
          <p:nvPr/>
        </p:nvSpPr>
        <p:spPr>
          <a:xfrm>
            <a:off x="5478965" y="826636"/>
            <a:ext cx="2404794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2" name="Chart 26">
            <a:extLst>
              <a:ext uri="{FF2B5EF4-FFF2-40B4-BE49-F238E27FC236}">
                <a16:creationId xmlns:a16="http://schemas.microsoft.com/office/drawing/2014/main" id="{58415AFF-071B-2748-9FF8-1F062420D6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0859752"/>
              </p:ext>
            </p:extLst>
          </p:nvPr>
        </p:nvGraphicFramePr>
        <p:xfrm>
          <a:off x="4644139" y="734868"/>
          <a:ext cx="4004193" cy="2852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8374521-8765-48E6-BD6E-29F7A80E3004}"/>
              </a:ext>
            </a:extLst>
          </p:cNvPr>
          <p:cNvSpPr/>
          <p:nvPr/>
        </p:nvSpPr>
        <p:spPr>
          <a:xfrm>
            <a:off x="9585751" y="816644"/>
            <a:ext cx="176975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8" name="Chart 26">
            <a:extLst>
              <a:ext uri="{FF2B5EF4-FFF2-40B4-BE49-F238E27FC236}">
                <a16:creationId xmlns:a16="http://schemas.microsoft.com/office/drawing/2014/main" id="{82587414-6DA3-0340-B4F8-8AD98971C72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86502646"/>
              </p:ext>
            </p:extLst>
          </p:nvPr>
        </p:nvGraphicFramePr>
        <p:xfrm>
          <a:off x="8401172" y="731659"/>
          <a:ext cx="3528117" cy="2852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8DA2D12-8206-4D3D-9493-AF5446A62F01}"/>
              </a:ext>
            </a:extLst>
          </p:cNvPr>
          <p:cNvSpPr/>
          <p:nvPr/>
        </p:nvSpPr>
        <p:spPr>
          <a:xfrm>
            <a:off x="869615" y="839101"/>
            <a:ext cx="2430233" cy="202332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6" name="Chart 26">
            <a:extLst>
              <a:ext uri="{FF2B5EF4-FFF2-40B4-BE49-F238E27FC236}">
                <a16:creationId xmlns:a16="http://schemas.microsoft.com/office/drawing/2014/main" id="{ED8C0E28-DDCF-6E47-8F27-779866E4B9A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63394618"/>
              </p:ext>
            </p:extLst>
          </p:nvPr>
        </p:nvGraphicFramePr>
        <p:xfrm>
          <a:off x="124446" y="738355"/>
          <a:ext cx="4230008" cy="28430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6F8AB4D-EADF-4793-B39F-087293A0A55C}"/>
              </a:ext>
            </a:extLst>
          </p:cNvPr>
          <p:cNvSpPr/>
          <p:nvPr/>
        </p:nvSpPr>
        <p:spPr>
          <a:xfrm>
            <a:off x="6105939" y="3714742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A51F7E7F-3005-452B-A37E-6345C488012C}"/>
              </a:ext>
            </a:extLst>
          </p:cNvPr>
          <p:cNvSpPr/>
          <p:nvPr/>
        </p:nvSpPr>
        <p:spPr>
          <a:xfrm>
            <a:off x="1463022" y="3714440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408" y="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ALGÉSICO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CE1A38D-B15D-44B8-8B16-ADBCF0FB153A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Target: H/M 25-60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Junio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 2024 </a:t>
            </a:r>
          </a:p>
        </p:txBody>
      </p:sp>
      <p:pic>
        <p:nvPicPr>
          <p:cNvPr id="1026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FEEED1DF-8648-4950-89EB-7A9954C08F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27533FF8-4632-48D4-ADB0-357699504C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5024811" y="684449"/>
            <a:ext cx="0" cy="292367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3608125"/>
            <a:ext cx="1237037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483B254-E4F6-40A3-9B23-E4A24DF0AC0D}"/>
              </a:ext>
            </a:extLst>
          </p:cNvPr>
          <p:cNvSpPr txBox="1"/>
          <p:nvPr/>
        </p:nvSpPr>
        <p:spPr>
          <a:xfrm>
            <a:off x="817038" y="3663238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NEW CREATIV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D43246-8B24-4048-847D-87FACD838830}"/>
              </a:ext>
            </a:extLst>
          </p:cNvPr>
          <p:cNvSpPr txBox="1"/>
          <p:nvPr/>
        </p:nvSpPr>
        <p:spPr>
          <a:xfrm>
            <a:off x="5441913" y="3663237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TOP CREATIVES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61D8F93-DC41-4187-9DDC-CAF216947808}"/>
              </a:ext>
            </a:extLst>
          </p:cNvPr>
          <p:cNvCxnSpPr>
            <a:cxnSpLocks/>
          </p:cNvCxnSpPr>
          <p:nvPr/>
        </p:nvCxnSpPr>
        <p:spPr>
          <a:xfrm>
            <a:off x="4553687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7B3C51B-B8A4-4BA3-B6F8-D38845A5B52C}"/>
              </a:ext>
            </a:extLst>
          </p:cNvPr>
          <p:cNvCxnSpPr>
            <a:cxnSpLocks/>
          </p:cNvCxnSpPr>
          <p:nvPr/>
        </p:nvCxnSpPr>
        <p:spPr>
          <a:xfrm>
            <a:off x="9315795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125F62A-9C20-4B7B-9329-07AF495224FD}"/>
              </a:ext>
            </a:extLst>
          </p:cNvPr>
          <p:cNvSpPr txBox="1"/>
          <p:nvPr/>
        </p:nvSpPr>
        <p:spPr>
          <a:xfrm>
            <a:off x="9295409" y="3579207"/>
            <a:ext cx="2878301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Aprendizajes: </a:t>
            </a:r>
            <a:endParaRPr lang="es-MX" sz="950" dirty="0">
              <a:solidFill>
                <a:prstClr val="black"/>
              </a:solidFill>
              <a:latin typeface="Abadi" panose="020B06040201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Para el mes de junio, la categoría decrece en un </a:t>
            </a:r>
            <a:r>
              <a:rPr lang="es-MX" sz="950" dirty="0">
                <a:solidFill>
                  <a:prstClr val="black"/>
                </a:solidFill>
                <a:latin typeface="Abadi" panose="020B0604020104020204" pitchFamily="34" charset="0"/>
              </a:rPr>
              <a:t>2</a:t>
            </a:r>
            <a:r>
              <a:rPr kumimoji="0" lang="es-MX" sz="9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% en relación a la actividad del mes </a:t>
            </a:r>
            <a:r>
              <a:rPr lang="es-MX" sz="950" dirty="0">
                <a:solidFill>
                  <a:prstClr val="black"/>
                </a:solidFill>
                <a:latin typeface="Abadi" panose="020B0604020104020204" pitchFamily="34" charset="0"/>
              </a:rPr>
              <a:t>anterior</a:t>
            </a:r>
            <a:r>
              <a:rPr kumimoji="0" lang="es-MX" sz="9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. Vitablenaco y Ray-Dol se mantienen en los primeros lugares en el SOI, con una actividad muy simila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950" dirty="0">
                <a:solidFill>
                  <a:prstClr val="black"/>
                </a:solidFill>
                <a:latin typeface="Abadi" panose="020B0604020104020204" pitchFamily="34" charset="0"/>
              </a:rPr>
              <a:t>Importante resaltar que las 3 marcas de Bayer que participan en esta categoría, tienen COE arriba de 1. Acetaminofen Bayer, recibe apoyo al ligarlo con otras marcas (como tagon) y su coeficiente es de 1.82, Aleve y Dorival, tienen COE arriba de 2, superando al resto de las marcas que participan en la categorí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950" dirty="0">
                <a:solidFill>
                  <a:prstClr val="black"/>
                </a:solidFill>
                <a:latin typeface="Abadi" panose="020B0604020104020204" pitchFamily="34" charset="0"/>
              </a:rPr>
              <a:t>La categoría no muestran creativos nuevos de la competencia durante el mes en análisis</a:t>
            </a:r>
            <a:endParaRPr kumimoji="0" lang="es-MX" sz="9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1AB5A22-D25F-4A53-8305-C43193081AA7}"/>
              </a:ext>
            </a:extLst>
          </p:cNvPr>
          <p:cNvCxnSpPr>
            <a:cxnSpLocks/>
          </p:cNvCxnSpPr>
          <p:nvPr/>
        </p:nvCxnSpPr>
        <p:spPr>
          <a:xfrm>
            <a:off x="8719463" y="-194425"/>
            <a:ext cx="0" cy="3809329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7" name="TextBox 48">
            <a:extLst>
              <a:ext uri="{FF2B5EF4-FFF2-40B4-BE49-F238E27FC236}">
                <a16:creationId xmlns:a16="http://schemas.microsoft.com/office/drawing/2014/main" id="{C8F82129-9C0B-0E47-B64A-A05ED6F4985D}"/>
              </a:ext>
            </a:extLst>
          </p:cNvPr>
          <p:cNvSpPr txBox="1"/>
          <p:nvPr/>
        </p:nvSpPr>
        <p:spPr>
          <a:xfrm>
            <a:off x="4786309" y="6553680"/>
            <a:ext cx="213365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900" b="1" dirty="0">
                <a:solidFill>
                  <a:prstClr val="black"/>
                </a:solidFill>
                <a:latin typeface="Abadi" panose="020B0604020104020204" pitchFamily="34" charset="0"/>
              </a:rPr>
              <a:t>Vitaflenaco</a:t>
            </a:r>
            <a:r>
              <a:rPr kumimoji="0" lang="es-MX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- ”</a:t>
            </a:r>
            <a:r>
              <a:rPr lang="es-MX" sz="900" dirty="0">
                <a:solidFill>
                  <a:prstClr val="black"/>
                </a:solidFill>
                <a:latin typeface="Abadi" panose="020B0604020104020204" pitchFamily="34" charset="0"/>
              </a:rPr>
              <a:t>Profesor + Gel en tubito” </a:t>
            </a:r>
            <a:endParaRPr kumimoji="0" lang="es-MX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graphicFrame>
        <p:nvGraphicFramePr>
          <p:cNvPr id="8" name="Tabla 7">
            <a:extLst>
              <a:ext uri="{FF2B5EF4-FFF2-40B4-BE49-F238E27FC236}">
                <a16:creationId xmlns:a16="http://schemas.microsoft.com/office/drawing/2014/main" id="{F10D8733-21AC-2545-A7E9-68F5F9077B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4256154"/>
              </p:ext>
            </p:extLst>
          </p:nvPr>
        </p:nvGraphicFramePr>
        <p:xfrm>
          <a:off x="4247999" y="896512"/>
          <a:ext cx="740543" cy="2361240"/>
        </p:xfrm>
        <a:graphic>
          <a:graphicData uri="http://schemas.openxmlformats.org/drawingml/2006/table">
            <a:tbl>
              <a:tblPr/>
              <a:tblGrid>
                <a:gridCol w="431838">
                  <a:extLst>
                    <a:ext uri="{9D8B030D-6E8A-4147-A177-3AD203B41FA5}">
                      <a16:colId xmlns:a16="http://schemas.microsoft.com/office/drawing/2014/main" val="33666726"/>
                    </a:ext>
                  </a:extLst>
                </a:gridCol>
                <a:gridCol w="308705">
                  <a:extLst>
                    <a:ext uri="{9D8B030D-6E8A-4147-A177-3AD203B41FA5}">
                      <a16:colId xmlns:a16="http://schemas.microsoft.com/office/drawing/2014/main" val="70315186"/>
                    </a:ext>
                  </a:extLst>
                </a:gridCol>
              </a:tblGrid>
              <a:tr h="236124">
                <a:tc>
                  <a:txBody>
                    <a:bodyPr/>
                    <a:lstStyle/>
                    <a:p>
                      <a:pPr algn="ctr"/>
                      <a:r>
                        <a:rPr lang="es-HN" sz="1000" b="1" dirty="0">
                          <a:effectLst/>
                          <a:latin typeface="Abadi MT Condensed Light" panose="020B0306030101010103" pitchFamily="34" charset="77"/>
                        </a:rPr>
                        <a:t>GRP's</a:t>
                      </a:r>
                      <a:endParaRPr lang="es-HN" sz="1000" dirty="0">
                        <a:effectLst/>
                        <a:latin typeface="Abadi MT Condensed Light" panose="020B0306030101010103" pitchFamily="34" charset="77"/>
                      </a:endParaRP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b="1" dirty="0">
                          <a:effectLst/>
                          <a:latin typeface="Abadi MT Condensed Light" panose="020B0306030101010103" pitchFamily="34" charset="77"/>
                        </a:rPr>
                        <a:t>SOV</a:t>
                      </a:r>
                      <a:endParaRPr lang="es-HN" sz="1000" dirty="0">
                        <a:effectLst/>
                        <a:latin typeface="Abadi MT Condensed Light" panose="020B0306030101010103" pitchFamily="34" charset="77"/>
                      </a:endParaRP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3862451"/>
                  </a:ext>
                </a:extLst>
              </a:tr>
              <a:tr h="236124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9,781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26%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4081248"/>
                  </a:ext>
                </a:extLst>
              </a:tr>
              <a:tr h="236124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6,974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18%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377266"/>
                  </a:ext>
                </a:extLst>
              </a:tr>
              <a:tr h="236124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4,538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12%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5546556"/>
                  </a:ext>
                </a:extLst>
              </a:tr>
              <a:tr h="236124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2,761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7%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0486311"/>
                  </a:ext>
                </a:extLst>
              </a:tr>
              <a:tr h="236124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2,154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6%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8682680"/>
                  </a:ext>
                </a:extLst>
              </a:tr>
              <a:tr h="236124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2,036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5%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33089393"/>
                  </a:ext>
                </a:extLst>
              </a:tr>
              <a:tr h="236124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1,911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5%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0959676"/>
                  </a:ext>
                </a:extLst>
              </a:tr>
              <a:tr h="236124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1,816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5%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0506506"/>
                  </a:ext>
                </a:extLst>
              </a:tr>
              <a:tr h="236124"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972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1000" dirty="0">
                          <a:effectLst/>
                          <a:latin typeface="Abadi MT Condensed Light" panose="020B0306030101010103" pitchFamily="34" charset="77"/>
                        </a:rPr>
                        <a:t>3%</a:t>
                      </a:r>
                    </a:p>
                  </a:txBody>
                  <a:tcPr marL="47625" marR="47625" marT="0" marB="0" anchor="ctr">
                    <a:lnL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" cap="flat" cmpd="sng" algn="ctr">
                      <a:solidFill>
                        <a:srgbClr val="FFCC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1238107"/>
                  </a:ext>
                </a:extLst>
              </a:tr>
            </a:tbl>
          </a:graphicData>
        </a:graphic>
      </p:graphicFrame>
      <p:graphicFrame>
        <p:nvGraphicFramePr>
          <p:cNvPr id="13" name="Tabla 18">
            <a:extLst>
              <a:ext uri="{FF2B5EF4-FFF2-40B4-BE49-F238E27FC236}">
                <a16:creationId xmlns:a16="http://schemas.microsoft.com/office/drawing/2014/main" id="{22B03456-8DC4-BC4C-BE63-F4D13697A02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27687900"/>
              </p:ext>
            </p:extLst>
          </p:nvPr>
        </p:nvGraphicFramePr>
        <p:xfrm>
          <a:off x="5173631" y="3381530"/>
          <a:ext cx="3249905" cy="213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649981">
                  <a:extLst>
                    <a:ext uri="{9D8B030D-6E8A-4147-A177-3AD203B41FA5}">
                      <a16:colId xmlns:a16="http://schemas.microsoft.com/office/drawing/2014/main" val="1798882282"/>
                    </a:ext>
                  </a:extLst>
                </a:gridCol>
                <a:gridCol w="649981">
                  <a:extLst>
                    <a:ext uri="{9D8B030D-6E8A-4147-A177-3AD203B41FA5}">
                      <a16:colId xmlns:a16="http://schemas.microsoft.com/office/drawing/2014/main" val="279081169"/>
                    </a:ext>
                  </a:extLst>
                </a:gridCol>
                <a:gridCol w="649981">
                  <a:extLst>
                    <a:ext uri="{9D8B030D-6E8A-4147-A177-3AD203B41FA5}">
                      <a16:colId xmlns:a16="http://schemas.microsoft.com/office/drawing/2014/main" val="1575754017"/>
                    </a:ext>
                  </a:extLst>
                </a:gridCol>
                <a:gridCol w="635086">
                  <a:extLst>
                    <a:ext uri="{9D8B030D-6E8A-4147-A177-3AD203B41FA5}">
                      <a16:colId xmlns:a16="http://schemas.microsoft.com/office/drawing/2014/main" val="3890254610"/>
                    </a:ext>
                  </a:extLst>
                </a:gridCol>
                <a:gridCol w="664876">
                  <a:extLst>
                    <a:ext uri="{9D8B030D-6E8A-4147-A177-3AD203B41FA5}">
                      <a16:colId xmlns:a16="http://schemas.microsoft.com/office/drawing/2014/main" val="432043137"/>
                    </a:ext>
                  </a:extLst>
                </a:gridCol>
              </a:tblGrid>
              <a:tr h="157818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3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8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2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24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8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9463211"/>
                  </a:ext>
                </a:extLst>
              </a:tr>
            </a:tbl>
          </a:graphicData>
        </a:graphic>
      </p:graphicFrame>
      <p:graphicFrame>
        <p:nvGraphicFramePr>
          <p:cNvPr id="68" name="Tabla 18">
            <a:extLst>
              <a:ext uri="{FF2B5EF4-FFF2-40B4-BE49-F238E27FC236}">
                <a16:creationId xmlns:a16="http://schemas.microsoft.com/office/drawing/2014/main" id="{C5B53EC8-7DBC-F040-ABCE-F31F4CCF4A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8244185"/>
              </p:ext>
            </p:extLst>
          </p:nvPr>
        </p:nvGraphicFramePr>
        <p:xfrm>
          <a:off x="9315795" y="3390161"/>
          <a:ext cx="2039710" cy="2133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9821">
                  <a:extLst>
                    <a:ext uri="{9D8B030D-6E8A-4147-A177-3AD203B41FA5}">
                      <a16:colId xmlns:a16="http://schemas.microsoft.com/office/drawing/2014/main" val="2441915327"/>
                    </a:ext>
                  </a:extLst>
                </a:gridCol>
                <a:gridCol w="409821">
                  <a:extLst>
                    <a:ext uri="{9D8B030D-6E8A-4147-A177-3AD203B41FA5}">
                      <a16:colId xmlns:a16="http://schemas.microsoft.com/office/drawing/2014/main" val="1798882282"/>
                    </a:ext>
                  </a:extLst>
                </a:gridCol>
                <a:gridCol w="409821">
                  <a:extLst>
                    <a:ext uri="{9D8B030D-6E8A-4147-A177-3AD203B41FA5}">
                      <a16:colId xmlns:a16="http://schemas.microsoft.com/office/drawing/2014/main" val="4122345785"/>
                    </a:ext>
                  </a:extLst>
                </a:gridCol>
                <a:gridCol w="409821">
                  <a:extLst>
                    <a:ext uri="{9D8B030D-6E8A-4147-A177-3AD203B41FA5}">
                      <a16:colId xmlns:a16="http://schemas.microsoft.com/office/drawing/2014/main" val="1575754017"/>
                    </a:ext>
                  </a:extLst>
                </a:gridCol>
                <a:gridCol w="400426">
                  <a:extLst>
                    <a:ext uri="{9D8B030D-6E8A-4147-A177-3AD203B41FA5}">
                      <a16:colId xmlns:a16="http://schemas.microsoft.com/office/drawing/2014/main" val="3890254610"/>
                    </a:ext>
                  </a:extLst>
                </a:gridCol>
              </a:tblGrid>
              <a:tr h="157818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16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7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1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29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43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9463211"/>
                  </a:ext>
                </a:extLst>
              </a:tr>
            </a:tbl>
          </a:graphicData>
        </a:graphic>
      </p:graphicFrame>
      <p:graphicFrame>
        <p:nvGraphicFramePr>
          <p:cNvPr id="19" name="Tabla 19">
            <a:extLst>
              <a:ext uri="{FF2B5EF4-FFF2-40B4-BE49-F238E27FC236}">
                <a16:creationId xmlns:a16="http://schemas.microsoft.com/office/drawing/2014/main" id="{560CF2AC-EAC8-2943-99E0-B971CE6F44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3901736"/>
              </p:ext>
            </p:extLst>
          </p:nvPr>
        </p:nvGraphicFramePr>
        <p:xfrm>
          <a:off x="1166029" y="3432598"/>
          <a:ext cx="2306510" cy="228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1302">
                  <a:extLst>
                    <a:ext uri="{9D8B030D-6E8A-4147-A177-3AD203B41FA5}">
                      <a16:colId xmlns:a16="http://schemas.microsoft.com/office/drawing/2014/main" val="2410469385"/>
                    </a:ext>
                  </a:extLst>
                </a:gridCol>
                <a:gridCol w="461302">
                  <a:extLst>
                    <a:ext uri="{9D8B030D-6E8A-4147-A177-3AD203B41FA5}">
                      <a16:colId xmlns:a16="http://schemas.microsoft.com/office/drawing/2014/main" val="3532760967"/>
                    </a:ext>
                  </a:extLst>
                </a:gridCol>
                <a:gridCol w="461302">
                  <a:extLst>
                    <a:ext uri="{9D8B030D-6E8A-4147-A177-3AD203B41FA5}">
                      <a16:colId xmlns:a16="http://schemas.microsoft.com/office/drawing/2014/main" val="2179396761"/>
                    </a:ext>
                  </a:extLst>
                </a:gridCol>
                <a:gridCol w="461302">
                  <a:extLst>
                    <a:ext uri="{9D8B030D-6E8A-4147-A177-3AD203B41FA5}">
                      <a16:colId xmlns:a16="http://schemas.microsoft.com/office/drawing/2014/main" val="1687979853"/>
                    </a:ext>
                  </a:extLst>
                </a:gridCol>
                <a:gridCol w="461302">
                  <a:extLst>
                    <a:ext uri="{9D8B030D-6E8A-4147-A177-3AD203B41FA5}">
                      <a16:colId xmlns:a16="http://schemas.microsoft.com/office/drawing/2014/main" val="2776458746"/>
                    </a:ext>
                  </a:extLst>
                </a:gridCol>
              </a:tblGrid>
              <a:tr h="172797">
                <a:tc>
                  <a:txBody>
                    <a:bodyPr/>
                    <a:lstStyle/>
                    <a:p>
                      <a:pPr algn="ctr"/>
                      <a:r>
                        <a:rPr lang="es-HN" sz="900" b="0" i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52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900" b="0" i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22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900" b="0" i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5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900" b="0" i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9%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900" b="0" i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2%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48680846"/>
                  </a:ext>
                </a:extLst>
              </a:tr>
            </a:tbl>
          </a:graphicData>
        </a:graphic>
      </p:graphicFrame>
      <p:pic>
        <p:nvPicPr>
          <p:cNvPr id="7" name="50401123081190000-2382-2400.mp4" descr="50401123081190000-2382-2400.mp4">
            <a:hlinkClick r:id="" action="ppaction://media"/>
            <a:extLst>
              <a:ext uri="{FF2B5EF4-FFF2-40B4-BE49-F238E27FC236}">
                <a16:creationId xmlns:a16="http://schemas.microsoft.com/office/drawing/2014/main" id="{3E6F5C5A-CB40-B948-A5F2-9F1920D8946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4759522" y="4011169"/>
            <a:ext cx="1846462" cy="1040260"/>
          </a:xfrm>
          <a:prstGeom prst="rect">
            <a:avLst/>
          </a:prstGeom>
        </p:spPr>
      </p:pic>
      <p:pic>
        <p:nvPicPr>
          <p:cNvPr id="15" name="50401023206200000-614-644.mp4" descr="50401023206200000-614-644.mp4">
            <a:hlinkClick r:id="" action="ppaction://media"/>
            <a:extLst>
              <a:ext uri="{FF2B5EF4-FFF2-40B4-BE49-F238E27FC236}">
                <a16:creationId xmlns:a16="http://schemas.microsoft.com/office/drawing/2014/main" id="{EE1E264D-9C32-5D4D-AD00-68A56AE33C0D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22"/>
          <a:stretch>
            <a:fillRect/>
          </a:stretch>
        </p:blipFill>
        <p:spPr>
          <a:xfrm>
            <a:off x="4988542" y="5473887"/>
            <a:ext cx="1846456" cy="1040257"/>
          </a:xfrm>
          <a:prstGeom prst="rect">
            <a:avLst/>
          </a:prstGeom>
        </p:spPr>
      </p:pic>
      <p:pic>
        <p:nvPicPr>
          <p:cNvPr id="21" name="50406023235130000-1982-1994.mp4" descr="50406023235130000-1982-1994.mp4">
            <a:hlinkClick r:id="" action="ppaction://media"/>
            <a:extLst>
              <a:ext uri="{FF2B5EF4-FFF2-40B4-BE49-F238E27FC236}">
                <a16:creationId xmlns:a16="http://schemas.microsoft.com/office/drawing/2014/main" id="{453ADF1B-7F41-9949-A956-70FAB3FCD5AF}"/>
              </a:ext>
            </a:extLst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23"/>
          <a:stretch>
            <a:fillRect/>
          </a:stretch>
        </p:blipFill>
        <p:spPr>
          <a:xfrm>
            <a:off x="6745473" y="4046145"/>
            <a:ext cx="1608864" cy="1005284"/>
          </a:xfrm>
          <a:prstGeom prst="rect">
            <a:avLst/>
          </a:prstGeom>
        </p:spPr>
      </p:pic>
      <p:sp>
        <p:nvSpPr>
          <p:cNvPr id="46" name="TextBox 48">
            <a:extLst>
              <a:ext uri="{FF2B5EF4-FFF2-40B4-BE49-F238E27FC236}">
                <a16:creationId xmlns:a16="http://schemas.microsoft.com/office/drawing/2014/main" id="{064B90EC-C5D4-514D-A7DE-7B9836FB0D6F}"/>
              </a:ext>
            </a:extLst>
          </p:cNvPr>
          <p:cNvSpPr txBox="1"/>
          <p:nvPr/>
        </p:nvSpPr>
        <p:spPr>
          <a:xfrm>
            <a:off x="4738017" y="5014397"/>
            <a:ext cx="19171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000" b="1" dirty="0">
                <a:solidFill>
                  <a:prstClr val="black"/>
                </a:solidFill>
                <a:latin typeface="Abadi" panose="020B0604020104020204" pitchFamily="34" charset="0"/>
              </a:rPr>
              <a:t>Dolo Neurobion</a:t>
            </a:r>
            <a:r>
              <a:rPr kumimoji="0" lang="es-MX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- </a:t>
            </a:r>
            <a:r>
              <a:rPr lang="es-MX" sz="1000" dirty="0">
                <a:solidFill>
                  <a:prstClr val="black"/>
                </a:solidFill>
                <a:latin typeface="Abadi" panose="020B0604020104020204" pitchFamily="34" charset="0"/>
              </a:rPr>
              <a:t>Consultorio</a:t>
            </a:r>
            <a:endParaRPr kumimoji="0" lang="es-MX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pic>
        <p:nvPicPr>
          <p:cNvPr id="22" name="504336233621400-60-83.mp3" descr="504336233621400-60-83.mp3">
            <a:hlinkClick r:id="" action="ppaction://media"/>
            <a:extLst>
              <a:ext uri="{FF2B5EF4-FFF2-40B4-BE49-F238E27FC236}">
                <a16:creationId xmlns:a16="http://schemas.microsoft.com/office/drawing/2014/main" id="{198AA7F7-3F73-384E-AE5D-68B5F6A10BC4}"/>
              </a:ext>
            </a:extLst>
          </p:cNvPr>
          <p:cNvPicPr>
            <a:picLocks noChangeAspect="1"/>
          </p:cNvPicPr>
          <p:nvPr>
            <a:audi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24"/>
          <a:stretch>
            <a:fillRect/>
          </a:stretch>
        </p:blipFill>
        <p:spPr>
          <a:xfrm>
            <a:off x="8521782" y="4014274"/>
            <a:ext cx="812800" cy="812800"/>
          </a:xfrm>
          <a:prstGeom prst="rect">
            <a:avLst/>
          </a:prstGeom>
        </p:spPr>
      </p:pic>
      <p:sp>
        <p:nvSpPr>
          <p:cNvPr id="50" name="TextBox 48">
            <a:extLst>
              <a:ext uri="{FF2B5EF4-FFF2-40B4-BE49-F238E27FC236}">
                <a16:creationId xmlns:a16="http://schemas.microsoft.com/office/drawing/2014/main" id="{B378DAEF-251B-6047-8BB0-8AC9DC42F4EE}"/>
              </a:ext>
            </a:extLst>
          </p:cNvPr>
          <p:cNvSpPr txBox="1"/>
          <p:nvPr/>
        </p:nvSpPr>
        <p:spPr>
          <a:xfrm>
            <a:off x="8324210" y="4754854"/>
            <a:ext cx="10103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Aliviol Migraña</a:t>
            </a:r>
            <a:r>
              <a:rPr kumimoji="0" lang="es-MX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– La migraña es muy molesta.</a:t>
            </a:r>
          </a:p>
        </p:txBody>
      </p:sp>
      <p:sp>
        <p:nvSpPr>
          <p:cNvPr id="40" name="TextBox 48">
            <a:extLst>
              <a:ext uri="{FF2B5EF4-FFF2-40B4-BE49-F238E27FC236}">
                <a16:creationId xmlns:a16="http://schemas.microsoft.com/office/drawing/2014/main" id="{D1526593-C796-9044-A60D-FE0566EC37E7}"/>
              </a:ext>
            </a:extLst>
          </p:cNvPr>
          <p:cNvSpPr txBox="1"/>
          <p:nvPr/>
        </p:nvSpPr>
        <p:spPr>
          <a:xfrm>
            <a:off x="333284" y="5149639"/>
            <a:ext cx="191712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000" b="1" dirty="0">
                <a:solidFill>
                  <a:prstClr val="black"/>
                </a:solidFill>
                <a:latin typeface="Abadi" panose="020B0604020104020204" pitchFamily="34" charset="0"/>
              </a:rPr>
              <a:t>X Ray Dol</a:t>
            </a:r>
            <a:r>
              <a:rPr kumimoji="0" lang="es-MX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– </a:t>
            </a:r>
            <a:r>
              <a:rPr lang="es-MX" sz="1000" dirty="0">
                <a:solidFill>
                  <a:prstClr val="black"/>
                </a:solidFill>
                <a:latin typeface="Abadi" panose="020B0604020104020204" pitchFamily="34" charset="0"/>
              </a:rPr>
              <a:t>Existe algo que te ayuda a sentirte mejo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000" i="1" dirty="0">
                <a:solidFill>
                  <a:prstClr val="black"/>
                </a:solidFill>
                <a:latin typeface="Abadi" panose="020B0604020104020204" pitchFamily="34" charset="0"/>
              </a:rPr>
              <a:t>(pautado en abril)</a:t>
            </a:r>
            <a:endParaRPr kumimoji="0" lang="es-MX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41" name="TextBox 48">
            <a:extLst>
              <a:ext uri="{FF2B5EF4-FFF2-40B4-BE49-F238E27FC236}">
                <a16:creationId xmlns:a16="http://schemas.microsoft.com/office/drawing/2014/main" id="{29D3BB1E-BAE0-1B4F-ABA7-CCF51BA0F724}"/>
              </a:ext>
            </a:extLst>
          </p:cNvPr>
          <p:cNvSpPr txBox="1"/>
          <p:nvPr/>
        </p:nvSpPr>
        <p:spPr>
          <a:xfrm>
            <a:off x="6703640" y="5032913"/>
            <a:ext cx="191712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Aliviol Migraña</a:t>
            </a:r>
            <a:r>
              <a:rPr kumimoji="0" lang="es-MX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- cortina</a:t>
            </a:r>
          </a:p>
        </p:txBody>
      </p:sp>
      <p:sp>
        <p:nvSpPr>
          <p:cNvPr id="43" name="TextBox 48">
            <a:extLst>
              <a:ext uri="{FF2B5EF4-FFF2-40B4-BE49-F238E27FC236}">
                <a16:creationId xmlns:a16="http://schemas.microsoft.com/office/drawing/2014/main" id="{A735DDA0-14E8-BB47-B25E-DD9C5D0A0D46}"/>
              </a:ext>
            </a:extLst>
          </p:cNvPr>
          <p:cNvSpPr txBox="1"/>
          <p:nvPr/>
        </p:nvSpPr>
        <p:spPr>
          <a:xfrm>
            <a:off x="2267230" y="5189482"/>
            <a:ext cx="191712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000" b="1" dirty="0">
                <a:solidFill>
                  <a:prstClr val="black"/>
                </a:solidFill>
                <a:latin typeface="Abadi" panose="020B0604020104020204" pitchFamily="34" charset="0"/>
              </a:rPr>
              <a:t>Delor Flex</a:t>
            </a:r>
            <a:r>
              <a:rPr kumimoji="0" lang="es-MX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– Que significa Flex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000" i="1" dirty="0">
                <a:solidFill>
                  <a:prstClr val="black"/>
                </a:solidFill>
                <a:latin typeface="Abadi" panose="020B0604020104020204" pitchFamily="34" charset="0"/>
              </a:rPr>
              <a:t>(lanzado en abril)</a:t>
            </a:r>
            <a:endParaRPr kumimoji="0" lang="es-MX" sz="10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pic>
        <p:nvPicPr>
          <p:cNvPr id="10" name="50400924092200000-188-216.mp4" descr="50400924092200000-188-216.mp4">
            <a:hlinkClick r:id="" action="ppaction://media"/>
            <a:extLst>
              <a:ext uri="{FF2B5EF4-FFF2-40B4-BE49-F238E27FC236}">
                <a16:creationId xmlns:a16="http://schemas.microsoft.com/office/drawing/2014/main" id="{48D48C31-5B94-D444-81EA-D37AF3E400A1}"/>
              </a:ext>
            </a:extLst>
          </p:cNvPr>
          <p:cNvPicPr>
            <a:picLocks noChangeAspect="1"/>
          </p:cNvPicPr>
          <p:nvPr>
            <a:videoFile r:link="rId10"/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5"/>
          <a:stretch>
            <a:fillRect/>
          </a:stretch>
        </p:blipFill>
        <p:spPr>
          <a:xfrm>
            <a:off x="497940" y="4235386"/>
            <a:ext cx="1550652" cy="888377"/>
          </a:xfrm>
          <a:prstGeom prst="rect">
            <a:avLst/>
          </a:prstGeom>
        </p:spPr>
      </p:pic>
      <p:pic>
        <p:nvPicPr>
          <p:cNvPr id="12" name="50406524102120000-2138-2166.mp4" descr="50406524102120000-2138-2166.mp4">
            <a:hlinkClick r:id="" action="ppaction://media"/>
            <a:extLst>
              <a:ext uri="{FF2B5EF4-FFF2-40B4-BE49-F238E27FC236}">
                <a16:creationId xmlns:a16="http://schemas.microsoft.com/office/drawing/2014/main" id="{937E8D1D-D101-1340-87EA-A3F522E4D610}"/>
              </a:ext>
            </a:extLst>
          </p:cNvPr>
          <p:cNvPicPr>
            <a:picLocks noChangeAspect="1"/>
          </p:cNvPicPr>
          <p:nvPr>
            <a:videoFile r:link="rId12"/>
            <p:extLst>
              <p:ext uri="{DAA4B4D4-6D71-4841-9C94-3DE7FCFB9230}">
                <p14:media xmlns:p14="http://schemas.microsoft.com/office/powerpoint/2010/main" r:embed="rId11"/>
              </p:ext>
            </p:extLst>
          </p:nvPr>
        </p:nvPicPr>
        <p:blipFill>
          <a:blip r:embed="rId26"/>
          <a:stretch>
            <a:fillRect/>
          </a:stretch>
        </p:blipFill>
        <p:spPr>
          <a:xfrm>
            <a:off x="2287344" y="4240411"/>
            <a:ext cx="1831481" cy="888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8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5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5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2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2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1"/>
                  </p:tgtEl>
                </p:cond>
              </p:nextCondLst>
            </p:seq>
            <p:video>
              <p:cMediaNode vol="80000">
                <p:cTn id="19" fill="hold" display="0">
                  <p:stCondLst>
                    <p:cond delay="indefinite"/>
                  </p:stCondLst>
                </p:cTn>
                <p:tgtEl>
                  <p:spTgt spid="21"/>
                </p:tgtEl>
              </p:cMediaNode>
            </p:video>
            <p:seq concurrent="1" nextAc="seek">
              <p:cTn id="20" restart="whenNotActive" fill="hold" evtFilter="cancelBubble" nodeType="interactiveSeq">
                <p:stCondLst>
                  <p:cond evt="onClick" delay="0">
                    <p:tgtEl>
                      <p:spTgt spid="2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1" fill="hold">
                      <p:stCondLst>
                        <p:cond delay="0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24" dur="25051" fill="hold"/>
                                        <p:tgtEl>
                                          <p:spTgt spid="2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2"/>
                  </p:tgtEl>
                </p:cond>
              </p:nextCondLst>
            </p:seq>
            <p:audio>
              <p:cMediaNode vol="80000">
                <p:cTn id="25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2"/>
                </p:tgtEl>
              </p:cMediaNode>
            </p:audio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0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  <p:video>
              <p:cMediaNode vol="80000">
                <p:cTn id="31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32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3" fill="hold">
                      <p:stCondLst>
                        <p:cond delay="0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6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37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</p:childTnLst>
        </p:cTn>
      </p:par>
    </p:tnLst>
  </p:timing>
  <p:extLst>
    <p:ext uri="{6950BFC3-D8DA-4A85-94F7-54DA5524770B}">
      <p188:commentRel xmlns:p188="http://schemas.microsoft.com/office/powerpoint/2018/8/main" r:id="rId15"/>
    </p:ext>
  </p:extLs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408" y="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ALGÉSICOS 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CE2A666-5A11-4E16-A61A-50F8F6DB60B1}"/>
              </a:ext>
            </a:extLst>
          </p:cNvPr>
          <p:cNvSpPr/>
          <p:nvPr/>
        </p:nvSpPr>
        <p:spPr>
          <a:xfrm>
            <a:off x="5333214" y="607962"/>
            <a:ext cx="1608866" cy="22590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5068628-66AB-4882-89F7-38BC30276AAB}"/>
              </a:ext>
            </a:extLst>
          </p:cNvPr>
          <p:cNvSpPr txBox="1"/>
          <p:nvPr/>
        </p:nvSpPr>
        <p:spPr>
          <a:xfrm>
            <a:off x="4647337" y="563303"/>
            <a:ext cx="29816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kumimoji="0" lang="es-MX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TÁCTICAS BAYER</a:t>
            </a:r>
          </a:p>
        </p:txBody>
      </p:sp>
      <p:sp>
        <p:nvSpPr>
          <p:cNvPr id="63" name="Title 1">
            <a:extLst>
              <a:ext uri="{FF2B5EF4-FFF2-40B4-BE49-F238E27FC236}">
                <a16:creationId xmlns:a16="http://schemas.microsoft.com/office/drawing/2014/main" id="{37C733DC-BC95-4E93-B24E-E6E3244025DC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Target: H/M 25-60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CH" sz="2000" dirty="0" err="1">
                <a:solidFill>
                  <a:prstClr val="black"/>
                </a:solidFill>
                <a:latin typeface="Abadi" panose="020B0604020104020204" pitchFamily="34" charset="0"/>
              </a:rPr>
              <a:t>Junio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 2024 </a:t>
            </a:r>
          </a:p>
        </p:txBody>
      </p:sp>
      <p:pic>
        <p:nvPicPr>
          <p:cNvPr id="64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A1513007-9818-4183-B323-4A8938FEA9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0AFB4ED1-6F9C-451F-B2AE-2511A55397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10">
            <a:extLst>
              <a:ext uri="{FF2B5EF4-FFF2-40B4-BE49-F238E27FC236}">
                <a16:creationId xmlns:a16="http://schemas.microsoft.com/office/drawing/2014/main" id="{78591E11-24F8-4B46-B4C6-B424FD3BF05D}"/>
              </a:ext>
            </a:extLst>
          </p:cNvPr>
          <p:cNvSpPr txBox="1"/>
          <p:nvPr/>
        </p:nvSpPr>
        <p:spPr>
          <a:xfrm>
            <a:off x="2586625" y="954214"/>
            <a:ext cx="1197764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R" sz="13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Merriweather"/>
                <a:cs typeface="Merriweather"/>
              </a:rPr>
              <a:t>Aleve Tabletas</a:t>
            </a:r>
          </a:p>
        </p:txBody>
      </p:sp>
      <p:sp>
        <p:nvSpPr>
          <p:cNvPr id="67" name="Marcador de contenido 2">
            <a:extLst>
              <a:ext uri="{FF2B5EF4-FFF2-40B4-BE49-F238E27FC236}">
                <a16:creationId xmlns:a16="http://schemas.microsoft.com/office/drawing/2014/main" id="{6C9FAEB1-3810-478C-840A-9D62FEDFB20D}"/>
              </a:ext>
            </a:extLst>
          </p:cNvPr>
          <p:cNvSpPr txBox="1">
            <a:spLocks/>
          </p:cNvSpPr>
          <p:nvPr/>
        </p:nvSpPr>
        <p:spPr>
          <a:xfrm>
            <a:off x="1958009" y="3064900"/>
            <a:ext cx="2507957" cy="1026320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RADIO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- Sin actividad en el mes de myo</a:t>
            </a:r>
          </a:p>
        </p:txBody>
      </p:sp>
      <p:sp>
        <p:nvSpPr>
          <p:cNvPr id="68" name="Marcador de contenido 2">
            <a:extLst>
              <a:ext uri="{FF2B5EF4-FFF2-40B4-BE49-F238E27FC236}">
                <a16:creationId xmlns:a16="http://schemas.microsoft.com/office/drawing/2014/main" id="{AEF0D607-8ECC-4362-A3C0-B6CB48E9469F}"/>
              </a:ext>
            </a:extLst>
          </p:cNvPr>
          <p:cNvSpPr txBox="1">
            <a:spLocks/>
          </p:cNvSpPr>
          <p:nvPr/>
        </p:nvSpPr>
        <p:spPr>
          <a:xfrm>
            <a:off x="1960072" y="4281635"/>
            <a:ext cx="2507957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CR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OOH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Sin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activida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</a:t>
            </a:r>
            <a:endParaRPr kumimoji="0" lang="es-MX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69" name="Marcador de contenido 2">
            <a:extLst>
              <a:ext uri="{FF2B5EF4-FFF2-40B4-BE49-F238E27FC236}">
                <a16:creationId xmlns:a16="http://schemas.microsoft.com/office/drawing/2014/main" id="{2DB402FF-6B37-478C-BCFE-5804060C52EA}"/>
              </a:ext>
            </a:extLst>
          </p:cNvPr>
          <p:cNvSpPr txBox="1">
            <a:spLocks/>
          </p:cNvSpPr>
          <p:nvPr/>
        </p:nvSpPr>
        <p:spPr>
          <a:xfrm>
            <a:off x="4814807" y="4281635"/>
            <a:ext cx="2507961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OOH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- Sin actividad</a:t>
            </a:r>
          </a:p>
        </p:txBody>
      </p:sp>
      <p:pic>
        <p:nvPicPr>
          <p:cNvPr id="70" name="Imagen 11">
            <a:extLst>
              <a:ext uri="{FF2B5EF4-FFF2-40B4-BE49-F238E27FC236}">
                <a16:creationId xmlns:a16="http://schemas.microsoft.com/office/drawing/2014/main" id="{451B553E-ED32-4F1D-A6FF-03C216BBB12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95" y="1747895"/>
            <a:ext cx="672955" cy="672955"/>
          </a:xfrm>
          <a:prstGeom prst="rect">
            <a:avLst/>
          </a:prstGeom>
        </p:spPr>
      </p:pic>
      <p:pic>
        <p:nvPicPr>
          <p:cNvPr id="71" name="Imagen 14">
            <a:extLst>
              <a:ext uri="{FF2B5EF4-FFF2-40B4-BE49-F238E27FC236}">
                <a16:creationId xmlns:a16="http://schemas.microsoft.com/office/drawing/2014/main" id="{2C069AEB-59AA-4C87-9A84-BA749CF3608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8" y="4731461"/>
            <a:ext cx="594850" cy="594850"/>
          </a:xfrm>
          <a:prstGeom prst="rect">
            <a:avLst/>
          </a:prstGeom>
        </p:spPr>
      </p:pic>
      <p:pic>
        <p:nvPicPr>
          <p:cNvPr id="72" name="Imagen 15">
            <a:extLst>
              <a:ext uri="{FF2B5EF4-FFF2-40B4-BE49-F238E27FC236}">
                <a16:creationId xmlns:a16="http://schemas.microsoft.com/office/drawing/2014/main" id="{DFAE6BED-7440-400D-BA2C-D6B241ACC46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95" y="3228641"/>
            <a:ext cx="653212" cy="653212"/>
          </a:xfrm>
          <a:prstGeom prst="rect">
            <a:avLst/>
          </a:prstGeom>
        </p:spPr>
      </p:pic>
      <p:sp>
        <p:nvSpPr>
          <p:cNvPr id="73" name="Marcador de contenido 2">
            <a:extLst>
              <a:ext uri="{FF2B5EF4-FFF2-40B4-BE49-F238E27FC236}">
                <a16:creationId xmlns:a16="http://schemas.microsoft.com/office/drawing/2014/main" id="{0FE48130-2DCC-4967-9041-99028F194917}"/>
              </a:ext>
            </a:extLst>
          </p:cNvPr>
          <p:cNvSpPr txBox="1">
            <a:spLocks/>
          </p:cNvSpPr>
          <p:nvPr/>
        </p:nvSpPr>
        <p:spPr>
          <a:xfrm>
            <a:off x="7714864" y="3042087"/>
            <a:ext cx="2516272" cy="1071946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RADIO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Sin actividad. </a:t>
            </a:r>
          </a:p>
        </p:txBody>
      </p:sp>
      <p:sp>
        <p:nvSpPr>
          <p:cNvPr id="74" name="Marcador de contenido 2">
            <a:extLst>
              <a:ext uri="{FF2B5EF4-FFF2-40B4-BE49-F238E27FC236}">
                <a16:creationId xmlns:a16="http://schemas.microsoft.com/office/drawing/2014/main" id="{E014B9DE-E3C2-44BF-9EC0-757CACC94D4F}"/>
              </a:ext>
            </a:extLst>
          </p:cNvPr>
          <p:cNvSpPr txBox="1">
            <a:spLocks/>
          </p:cNvSpPr>
          <p:nvPr/>
        </p:nvSpPr>
        <p:spPr>
          <a:xfrm>
            <a:off x="4804948" y="3042087"/>
            <a:ext cx="2507168" cy="1071946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RADIO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Sin actividad</a:t>
            </a:r>
          </a:p>
        </p:txBody>
      </p:sp>
      <p:sp>
        <p:nvSpPr>
          <p:cNvPr id="75" name="Marcador de contenido 2">
            <a:extLst>
              <a:ext uri="{FF2B5EF4-FFF2-40B4-BE49-F238E27FC236}">
                <a16:creationId xmlns:a16="http://schemas.microsoft.com/office/drawing/2014/main" id="{29EBDD38-CE8F-4582-BCCB-E65D51FEF352}"/>
              </a:ext>
            </a:extLst>
          </p:cNvPr>
          <p:cNvSpPr txBox="1">
            <a:spLocks/>
          </p:cNvSpPr>
          <p:nvPr/>
        </p:nvSpPr>
        <p:spPr>
          <a:xfrm>
            <a:off x="7714860" y="4281635"/>
            <a:ext cx="2507961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OOH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Sin actividad. </a:t>
            </a:r>
          </a:p>
        </p:txBody>
      </p:sp>
      <p:sp>
        <p:nvSpPr>
          <p:cNvPr id="77" name="TextBox 10">
            <a:extLst>
              <a:ext uri="{FF2B5EF4-FFF2-40B4-BE49-F238E27FC236}">
                <a16:creationId xmlns:a16="http://schemas.microsoft.com/office/drawing/2014/main" id="{274F8F66-4E69-4285-89DD-569C46754823}"/>
              </a:ext>
            </a:extLst>
          </p:cNvPr>
          <p:cNvSpPr txBox="1"/>
          <p:nvPr/>
        </p:nvSpPr>
        <p:spPr>
          <a:xfrm>
            <a:off x="5215641" y="954214"/>
            <a:ext cx="176484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Merriweather"/>
                <a:cs typeface="Merriweather"/>
              </a:rPr>
              <a:t>Acetaminofen</a:t>
            </a:r>
            <a:r>
              <a:rPr kumimoji="0" lang="es-C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Merriweather"/>
                <a:cs typeface="Merriweather"/>
              </a:rPr>
              <a:t> Bayer </a:t>
            </a:r>
          </a:p>
        </p:txBody>
      </p:sp>
      <p:sp>
        <p:nvSpPr>
          <p:cNvPr id="78" name="Marcador de contenido 2">
            <a:extLst>
              <a:ext uri="{FF2B5EF4-FFF2-40B4-BE49-F238E27FC236}">
                <a16:creationId xmlns:a16="http://schemas.microsoft.com/office/drawing/2014/main" id="{55D8C8E5-6315-4B11-8790-09790CA96B06}"/>
              </a:ext>
            </a:extLst>
          </p:cNvPr>
          <p:cNvSpPr txBox="1">
            <a:spLocks/>
          </p:cNvSpPr>
          <p:nvPr/>
        </p:nvSpPr>
        <p:spPr>
          <a:xfrm>
            <a:off x="7717435" y="1345124"/>
            <a:ext cx="2507957" cy="1471315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TV ABIERTA: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MX" sz="1200" dirty="0">
                <a:solidFill>
                  <a:prstClr val="black"/>
                </a:solidFill>
                <a:latin typeface="Abadi" panose="020B0604020104020204" pitchFamily="34" charset="0"/>
              </a:rPr>
              <a:t>Patrocinio Patinando con las Estrellas (compra en abril, pauta continua en junio)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Resultados : 1,045 </a:t>
            </a:r>
            <a:r>
              <a:rPr lang="es-MX" sz="1200" dirty="0">
                <a:solidFill>
                  <a:prstClr val="black"/>
                </a:solidFill>
                <a:latin typeface="Abadi" panose="020B0604020104020204" pitchFamily="34" charset="0"/>
              </a:rPr>
              <a:t>trp’s | 235 msj | COE : 1.33</a:t>
            </a:r>
            <a:endParaRPr kumimoji="0" lang="es-MX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79" name="TextBox 10">
            <a:extLst>
              <a:ext uri="{FF2B5EF4-FFF2-40B4-BE49-F238E27FC236}">
                <a16:creationId xmlns:a16="http://schemas.microsoft.com/office/drawing/2014/main" id="{13833C14-FB7B-4B97-B968-B1C6B138E2C8}"/>
              </a:ext>
            </a:extLst>
          </p:cNvPr>
          <p:cNvSpPr txBox="1"/>
          <p:nvPr/>
        </p:nvSpPr>
        <p:spPr>
          <a:xfrm>
            <a:off x="8643930" y="954214"/>
            <a:ext cx="72968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CR" sz="1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Merriweather"/>
                <a:cs typeface="Merriweather"/>
              </a:rPr>
              <a:t>Dorival</a:t>
            </a:r>
            <a:endParaRPr kumimoji="0" lang="es-CR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Merriweather"/>
              <a:cs typeface="Merriweather"/>
            </a:endParaRPr>
          </a:p>
        </p:txBody>
      </p:sp>
      <p:sp>
        <p:nvSpPr>
          <p:cNvPr id="80" name="Marcador de contenido 2">
            <a:extLst>
              <a:ext uri="{FF2B5EF4-FFF2-40B4-BE49-F238E27FC236}">
                <a16:creationId xmlns:a16="http://schemas.microsoft.com/office/drawing/2014/main" id="{69D9BD66-246A-41B3-9527-9B47AF61F6ED}"/>
              </a:ext>
            </a:extLst>
          </p:cNvPr>
          <p:cNvSpPr txBox="1">
            <a:spLocks/>
          </p:cNvSpPr>
          <p:nvPr/>
        </p:nvSpPr>
        <p:spPr>
          <a:xfrm>
            <a:off x="1960076" y="1352305"/>
            <a:ext cx="2507957" cy="1464134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TV ABIERTA: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MX" sz="1200" b="1" dirty="0">
                <a:solidFill>
                  <a:prstClr val="black"/>
                </a:solidFill>
                <a:latin typeface="Abadi" panose="020B0604020104020204" pitchFamily="34" charset="0"/>
              </a:rPr>
              <a:t>Paquete en novelas prime en C7 y C5.</a:t>
            </a:r>
          </a:p>
          <a:p>
            <a:pPr marL="0" indent="0">
              <a:buNone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Resultados : 151 </a:t>
            </a:r>
            <a:r>
              <a:rPr lang="es-MX" sz="1200" dirty="0">
                <a:solidFill>
                  <a:prstClr val="black"/>
                </a:solidFill>
                <a:latin typeface="Abadi" panose="020B0604020104020204" pitchFamily="34" charset="0"/>
              </a:rPr>
              <a:t>trp’s | 35 msj | COE : 1.05</a:t>
            </a:r>
            <a:endParaRPr kumimoji="0" lang="es-MX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MX" sz="1200" b="1" dirty="0">
              <a:solidFill>
                <a:prstClr val="black"/>
              </a:solidFill>
              <a:latin typeface="Abadi" panose="020B06040201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s-MX" sz="1200" b="1" dirty="0">
              <a:solidFill>
                <a:prstClr val="black"/>
              </a:solidFill>
              <a:latin typeface="Abadi" panose="020B06040201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MX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81" name="Marcador de contenido 2">
            <a:extLst>
              <a:ext uri="{FF2B5EF4-FFF2-40B4-BE49-F238E27FC236}">
                <a16:creationId xmlns:a16="http://schemas.microsoft.com/office/drawing/2014/main" id="{C4640BF2-1194-4F37-9A26-5FCA45345626}"/>
              </a:ext>
            </a:extLst>
          </p:cNvPr>
          <p:cNvSpPr txBox="1">
            <a:spLocks/>
          </p:cNvSpPr>
          <p:nvPr/>
        </p:nvSpPr>
        <p:spPr>
          <a:xfrm>
            <a:off x="4800600" y="5942505"/>
            <a:ext cx="2511517" cy="779403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CINE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No aplica en HN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s-MX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pic>
        <p:nvPicPr>
          <p:cNvPr id="82" name="Imagen 2">
            <a:extLst>
              <a:ext uri="{FF2B5EF4-FFF2-40B4-BE49-F238E27FC236}">
                <a16:creationId xmlns:a16="http://schemas.microsoft.com/office/drawing/2014/main" id="{88859596-E568-4A8A-AAB7-A7377F7FDFC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8" y="5971987"/>
            <a:ext cx="674242" cy="674242"/>
          </a:xfrm>
          <a:prstGeom prst="rect">
            <a:avLst/>
          </a:prstGeom>
        </p:spPr>
      </p:pic>
      <p:sp>
        <p:nvSpPr>
          <p:cNvPr id="83" name="Marcador de contenido 2">
            <a:extLst>
              <a:ext uri="{FF2B5EF4-FFF2-40B4-BE49-F238E27FC236}">
                <a16:creationId xmlns:a16="http://schemas.microsoft.com/office/drawing/2014/main" id="{ECACCD17-3A10-4924-A6CB-17729ADBDC3A}"/>
              </a:ext>
            </a:extLst>
          </p:cNvPr>
          <p:cNvSpPr txBox="1">
            <a:spLocks/>
          </p:cNvSpPr>
          <p:nvPr/>
        </p:nvSpPr>
        <p:spPr>
          <a:xfrm>
            <a:off x="1958009" y="5942505"/>
            <a:ext cx="2510020" cy="779403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CINE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Sin actividad</a:t>
            </a:r>
          </a:p>
        </p:txBody>
      </p:sp>
      <p:sp>
        <p:nvSpPr>
          <p:cNvPr id="84" name="Marcador de contenido 2">
            <a:extLst>
              <a:ext uri="{FF2B5EF4-FFF2-40B4-BE49-F238E27FC236}">
                <a16:creationId xmlns:a16="http://schemas.microsoft.com/office/drawing/2014/main" id="{A704B52E-2930-4AD0-9DB1-C6523E331A6D}"/>
              </a:ext>
            </a:extLst>
          </p:cNvPr>
          <p:cNvSpPr txBox="1">
            <a:spLocks/>
          </p:cNvSpPr>
          <p:nvPr/>
        </p:nvSpPr>
        <p:spPr>
          <a:xfrm>
            <a:off x="7714860" y="5942505"/>
            <a:ext cx="2516272" cy="751909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CINES:</a:t>
            </a: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Sin actividad. </a:t>
            </a:r>
          </a:p>
        </p:txBody>
      </p:sp>
      <p:sp>
        <p:nvSpPr>
          <p:cNvPr id="29" name="Marcador de contenido 2">
            <a:extLst>
              <a:ext uri="{FF2B5EF4-FFF2-40B4-BE49-F238E27FC236}">
                <a16:creationId xmlns:a16="http://schemas.microsoft.com/office/drawing/2014/main" id="{7C2A88BE-D33A-984E-82D4-86E47424224F}"/>
              </a:ext>
            </a:extLst>
          </p:cNvPr>
          <p:cNvSpPr txBox="1">
            <a:spLocks/>
          </p:cNvSpPr>
          <p:nvPr/>
        </p:nvSpPr>
        <p:spPr>
          <a:xfrm>
            <a:off x="4814811" y="1348714"/>
            <a:ext cx="2507957" cy="1464134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s-MX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TV ABIERTA:</a:t>
            </a:r>
            <a:r>
              <a:rPr lang="es-MX" sz="1200" dirty="0">
                <a:solidFill>
                  <a:prstClr val="black"/>
                </a:solidFill>
                <a:latin typeface="Abadi" panose="020B0604020104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MX" sz="1200" dirty="0">
                <a:solidFill>
                  <a:prstClr val="black"/>
                </a:solidFill>
                <a:latin typeface="Abadi" panose="020B0604020104020204" pitchFamily="34" charset="0"/>
              </a:rPr>
              <a:t>Sin actividad</a:t>
            </a:r>
          </a:p>
        </p:txBody>
      </p:sp>
    </p:spTree>
    <p:extLst>
      <p:ext uri="{BB962C8B-B14F-4D97-AF65-F5344CB8AC3E}">
        <p14:creationId xmlns:p14="http://schemas.microsoft.com/office/powerpoint/2010/main" val="301621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Chart 24">
            <a:extLst>
              <a:ext uri="{FF2B5EF4-FFF2-40B4-BE49-F238E27FC236}">
                <a16:creationId xmlns:a16="http://schemas.microsoft.com/office/drawing/2014/main" id="{93D62620-2065-6946-A88A-105E6E4EF2D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36705646"/>
              </p:ext>
            </p:extLst>
          </p:nvPr>
        </p:nvGraphicFramePr>
        <p:xfrm>
          <a:off x="0" y="4116566"/>
          <a:ext cx="5900972" cy="2685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23390A8-F290-43A7-9F96-E609942B5670}"/>
              </a:ext>
            </a:extLst>
          </p:cNvPr>
          <p:cNvSpPr/>
          <p:nvPr/>
        </p:nvSpPr>
        <p:spPr>
          <a:xfrm>
            <a:off x="2466999" y="4213331"/>
            <a:ext cx="90816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dia Mix</a:t>
            </a: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040C8B7-2A6E-412B-9010-BE3A5BB222EA}"/>
              </a:ext>
            </a:extLst>
          </p:cNvPr>
          <p:cNvSpPr/>
          <p:nvPr/>
        </p:nvSpPr>
        <p:spPr>
          <a:xfrm>
            <a:off x="1895554" y="808169"/>
            <a:ext cx="2850204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>
              <a:defRPr sz="1400" b="1" i="0" u="none" strike="noStrike" kern="1200" baseline="0">
                <a:solidFill>
                  <a:prstClr val="black">
                    <a:lumMod val="65000"/>
                    <a:lumOff val="35000"/>
                  </a:prstClr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n-US" sz="1200" dirty="0">
                <a:solidFill>
                  <a:schemeClr val="tx1"/>
                </a:solidFill>
              </a:rPr>
              <a:t>SOI BY BRAND ($2,868K) – </a:t>
            </a:r>
            <a:r>
              <a:rPr lang="en-US" sz="1200" dirty="0" err="1">
                <a:solidFill>
                  <a:schemeClr val="tx1"/>
                </a:solidFill>
              </a:rPr>
              <a:t>junio</a:t>
            </a:r>
            <a:r>
              <a:rPr lang="en-US" sz="1200" dirty="0">
                <a:solidFill>
                  <a:schemeClr val="tx1"/>
                </a:solidFill>
              </a:rPr>
              <a:t> YTD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A66843B-C54E-4A68-84F5-289CC97225A7}"/>
              </a:ext>
            </a:extLst>
          </p:cNvPr>
          <p:cNvSpPr/>
          <p:nvPr/>
        </p:nvSpPr>
        <p:spPr>
          <a:xfrm>
            <a:off x="8527333" y="4268136"/>
            <a:ext cx="998979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2" name="Marcador de contenido 10">
            <a:extLst>
              <a:ext uri="{FF2B5EF4-FFF2-40B4-BE49-F238E27FC236}">
                <a16:creationId xmlns:a16="http://schemas.microsoft.com/office/drawing/2014/main" id="{D56C3FD9-F7AF-421C-BBFF-8C2B0C4F68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63702847"/>
              </p:ext>
            </p:extLst>
          </p:nvPr>
        </p:nvGraphicFramePr>
        <p:xfrm>
          <a:off x="5871868" y="4172806"/>
          <a:ext cx="6319340" cy="2572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D3A9D05-F844-431B-BCAC-44C0143702CC}"/>
              </a:ext>
            </a:extLst>
          </p:cNvPr>
          <p:cNvSpPr/>
          <p:nvPr/>
        </p:nvSpPr>
        <p:spPr>
          <a:xfrm>
            <a:off x="8449036" y="827087"/>
            <a:ext cx="120876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408" y="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GRIPALES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5871868" y="-56288"/>
            <a:ext cx="0" cy="69827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4154266"/>
            <a:ext cx="12221107" cy="10448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21" name="Gráfico 16">
            <a:extLst>
              <a:ext uri="{FF2B5EF4-FFF2-40B4-BE49-F238E27FC236}">
                <a16:creationId xmlns:a16="http://schemas.microsoft.com/office/drawing/2014/main" id="{9614D2A4-6A3E-4675-BF63-453B74AC72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31831631"/>
              </p:ext>
            </p:extLst>
          </p:nvPr>
        </p:nvGraphicFramePr>
        <p:xfrm>
          <a:off x="5941930" y="739677"/>
          <a:ext cx="6246693" cy="3414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785628DB-99DF-4C03-B512-C43CDD204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02757015"/>
              </p:ext>
            </p:extLst>
          </p:nvPr>
        </p:nvGraphicFramePr>
        <p:xfrm>
          <a:off x="2872673" y="2951903"/>
          <a:ext cx="3010602" cy="12105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7" name="Hoja de cálculo" r:id="rId8" imgW="3606800" imgH="1346200" progId="Excel.Sheet.12">
                  <p:embed/>
                </p:oleObj>
              </mc:Choice>
              <mc:Fallback>
                <p:oleObj name="Hoja de cálculo" r:id="rId8" imgW="3606800" imgH="1346200" progId="Excel.Sheet.12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785628DB-99DF-4C03-B512-C43CDD204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872673" y="2951903"/>
                        <a:ext cx="3010602" cy="12105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7" name="Object 36">
            <a:extLst>
              <a:ext uri="{FF2B5EF4-FFF2-40B4-BE49-F238E27FC236}">
                <a16:creationId xmlns:a16="http://schemas.microsoft.com/office/drawing/2014/main" id="{E3329616-4A16-4E9F-BC32-F9AE170E7E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54882476"/>
              </p:ext>
            </p:extLst>
          </p:nvPr>
        </p:nvGraphicFramePr>
        <p:xfrm>
          <a:off x="6388100" y="1125538"/>
          <a:ext cx="5783263" cy="203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8" name="Hoja de cálculo" r:id="rId10" imgW="4432300" imgH="203200" progId="Excel.Sheet.12">
                  <p:embed/>
                </p:oleObj>
              </mc:Choice>
              <mc:Fallback>
                <p:oleObj name="Hoja de cálculo" r:id="rId10" imgW="4432300" imgH="203200" progId="Excel.Sheet.12">
                  <p:embed/>
                  <p:pic>
                    <p:nvPicPr>
                      <p:cNvPr id="37" name="Object 36">
                        <a:extLst>
                          <a:ext uri="{FF2B5EF4-FFF2-40B4-BE49-F238E27FC236}">
                            <a16:creationId xmlns:a16="http://schemas.microsoft.com/office/drawing/2014/main" id="{E3329616-4A16-4E9F-BC32-F9AE170E7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6388100" y="1125538"/>
                        <a:ext cx="5783263" cy="203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1">
            <a:extLst>
              <a:ext uri="{FF2B5EF4-FFF2-40B4-BE49-F238E27FC236}">
                <a16:creationId xmlns:a16="http://schemas.microsoft.com/office/drawing/2014/main" id="{55443EAC-93D8-4F92-BFE3-F3628EEB10E7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Target: H/M 18-45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Junio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 2024 </a:t>
            </a:r>
          </a:p>
        </p:txBody>
      </p:sp>
      <p:pic>
        <p:nvPicPr>
          <p:cNvPr id="45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8CE7A3EC-D360-4CEC-8CF0-14ED42C099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59436C7B-7335-495D-AC94-9D0DC397E2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a 3">
            <a:extLst>
              <a:ext uri="{FF2B5EF4-FFF2-40B4-BE49-F238E27FC236}">
                <a16:creationId xmlns:a16="http://schemas.microsoft.com/office/drawing/2014/main" id="{449A8407-ECBA-1742-BA26-66D819954C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0568801"/>
              </p:ext>
            </p:extLst>
          </p:nvPr>
        </p:nvGraphicFramePr>
        <p:xfrm>
          <a:off x="397198" y="995377"/>
          <a:ext cx="390843" cy="3078452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390843">
                  <a:extLst>
                    <a:ext uri="{9D8B030D-6E8A-4147-A177-3AD203B41FA5}">
                      <a16:colId xmlns:a16="http://schemas.microsoft.com/office/drawing/2014/main" val="1185865620"/>
                    </a:ext>
                  </a:extLst>
                </a:gridCol>
              </a:tblGrid>
              <a:tr h="236804">
                <a:tc>
                  <a:txBody>
                    <a:bodyPr/>
                    <a:lstStyle/>
                    <a:p>
                      <a:r>
                        <a:rPr lang="es-HN" sz="900" dirty="0">
                          <a:latin typeface="Abadi MT Condensed Light" panose="020B0306030101010103" pitchFamily="34" charset="77"/>
                        </a:rPr>
                        <a:t>SO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884866"/>
                  </a:ext>
                </a:extLst>
              </a:tr>
              <a:tr h="236804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1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9576745"/>
                  </a:ext>
                </a:extLst>
              </a:tr>
              <a:tr h="236804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1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6237253"/>
                  </a:ext>
                </a:extLst>
              </a:tr>
              <a:tr h="236804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1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6364691"/>
                  </a:ext>
                </a:extLst>
              </a:tr>
              <a:tr h="236804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1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66960156"/>
                  </a:ext>
                </a:extLst>
              </a:tr>
              <a:tr h="236804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9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60933986"/>
                  </a:ext>
                </a:extLst>
              </a:tr>
              <a:tr h="236804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95869678"/>
                  </a:ext>
                </a:extLst>
              </a:tr>
              <a:tr h="236804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2891413"/>
                  </a:ext>
                </a:extLst>
              </a:tr>
              <a:tr h="236804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46573940"/>
                  </a:ext>
                </a:extLst>
              </a:tr>
              <a:tr h="236804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93250975"/>
                  </a:ext>
                </a:extLst>
              </a:tr>
              <a:tr h="236804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4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89532608"/>
                  </a:ext>
                </a:extLst>
              </a:tr>
              <a:tr h="236804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65612186"/>
                  </a:ext>
                </a:extLst>
              </a:tr>
              <a:tr h="236804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latin typeface="Abadi MT Condensed Light" panose="020B0306030101010103" pitchFamily="34" charset="77"/>
                        </a:rPr>
                        <a:t>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09080510"/>
                  </a:ext>
                </a:extLst>
              </a:tr>
            </a:tbl>
          </a:graphicData>
        </a:graphic>
      </p:graphicFrame>
      <p:sp>
        <p:nvSpPr>
          <p:cNvPr id="20" name="CuadroTexto 19">
            <a:extLst>
              <a:ext uri="{FF2B5EF4-FFF2-40B4-BE49-F238E27FC236}">
                <a16:creationId xmlns:a16="http://schemas.microsoft.com/office/drawing/2014/main" id="{E54E2B37-DB99-2F4A-9BAC-054F5A3FAFF9}"/>
              </a:ext>
            </a:extLst>
          </p:cNvPr>
          <p:cNvSpPr txBox="1"/>
          <p:nvPr/>
        </p:nvSpPr>
        <p:spPr>
          <a:xfrm>
            <a:off x="2190350" y="6584447"/>
            <a:ext cx="46819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dirty="0">
                <a:solidFill>
                  <a:prstClr val="black"/>
                </a:solidFill>
                <a:latin typeface="Abadi MT Condensed Light" panose="020B0306030101010103" pitchFamily="34" charset="77"/>
              </a:rPr>
              <a:t>75%</a:t>
            </a:r>
            <a:r>
              <a:rPr kumimoji="0" lang="es-H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 MT Condensed Light" panose="020B0306030101010103" pitchFamily="34" charset="77"/>
                <a:ea typeface="+mn-ea"/>
                <a:cs typeface="+mn-cs"/>
              </a:rPr>
              <a:t>	</a:t>
            </a:r>
          </a:p>
        </p:txBody>
      </p:sp>
      <p:sp>
        <p:nvSpPr>
          <p:cNvPr id="23" name="CuadroTexto 22">
            <a:extLst>
              <a:ext uri="{FF2B5EF4-FFF2-40B4-BE49-F238E27FC236}">
                <a16:creationId xmlns:a16="http://schemas.microsoft.com/office/drawing/2014/main" id="{6C20DD3D-D896-0C4C-83C8-D8E9BE688FE9}"/>
              </a:ext>
            </a:extLst>
          </p:cNvPr>
          <p:cNvSpPr txBox="1"/>
          <p:nvPr/>
        </p:nvSpPr>
        <p:spPr>
          <a:xfrm>
            <a:off x="2841550" y="6578908"/>
            <a:ext cx="46819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H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 MT Condensed Light" panose="020B0306030101010103" pitchFamily="34" charset="77"/>
                <a:ea typeface="+mn-ea"/>
                <a:cs typeface="+mn-cs"/>
              </a:rPr>
              <a:t>24%</a:t>
            </a: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A52B6A51-0AB2-0F4B-B0F7-A14FECFAAB76}"/>
              </a:ext>
            </a:extLst>
          </p:cNvPr>
          <p:cNvSpPr txBox="1"/>
          <p:nvPr/>
        </p:nvSpPr>
        <p:spPr>
          <a:xfrm>
            <a:off x="3252165" y="6574507"/>
            <a:ext cx="46819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800" dirty="0">
                <a:solidFill>
                  <a:prstClr val="black"/>
                </a:solidFill>
                <a:latin typeface="Abadi MT Condensed Light" panose="020B0306030101010103" pitchFamily="34" charset="77"/>
              </a:rPr>
              <a:t>1</a:t>
            </a:r>
            <a:r>
              <a:rPr kumimoji="0" lang="es-H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 MT Condensed Light" panose="020B0306030101010103" pitchFamily="34" charset="77"/>
                <a:ea typeface="+mn-ea"/>
                <a:cs typeface="+mn-cs"/>
              </a:rPr>
              <a:t>%</a:t>
            </a: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6B76F5A1-A8E3-0046-B5CF-E0DA4802384D}"/>
              </a:ext>
            </a:extLst>
          </p:cNvPr>
          <p:cNvSpPr txBox="1"/>
          <p:nvPr/>
        </p:nvSpPr>
        <p:spPr>
          <a:xfrm>
            <a:off x="3564467" y="6576115"/>
            <a:ext cx="46819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HN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 MT Condensed Light" panose="020B0306030101010103" pitchFamily="34" charset="77"/>
                <a:ea typeface="+mn-ea"/>
                <a:cs typeface="+mn-cs"/>
              </a:rPr>
              <a:t>1%</a:t>
            </a:r>
          </a:p>
        </p:txBody>
      </p:sp>
      <p:graphicFrame>
        <p:nvGraphicFramePr>
          <p:cNvPr id="5" name="Gráfico 4">
            <a:extLst>
              <a:ext uri="{FF2B5EF4-FFF2-40B4-BE49-F238E27FC236}">
                <a16:creationId xmlns:a16="http://schemas.microsoft.com/office/drawing/2014/main" id="{10534491-B5F0-CB49-85D3-72618AA221D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83348055"/>
              </p:ext>
            </p:extLst>
          </p:nvPr>
        </p:nvGraphicFramePr>
        <p:xfrm>
          <a:off x="767837" y="1119188"/>
          <a:ext cx="4867244" cy="30897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</p:spTree>
    <p:extLst>
      <p:ext uri="{BB962C8B-B14F-4D97-AF65-F5344CB8AC3E}">
        <p14:creationId xmlns:p14="http://schemas.microsoft.com/office/powerpoint/2010/main" val="312511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: Rounded Corners 65">
            <a:extLst>
              <a:ext uri="{FF2B5EF4-FFF2-40B4-BE49-F238E27FC236}">
                <a16:creationId xmlns:a16="http://schemas.microsoft.com/office/drawing/2014/main" id="{B8374521-8765-48E6-BD6E-29F7A80E3004}"/>
              </a:ext>
            </a:extLst>
          </p:cNvPr>
          <p:cNvSpPr/>
          <p:nvPr/>
        </p:nvSpPr>
        <p:spPr>
          <a:xfrm>
            <a:off x="9585751" y="816644"/>
            <a:ext cx="176975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9" name="Chart 26">
            <a:extLst>
              <a:ext uri="{FF2B5EF4-FFF2-40B4-BE49-F238E27FC236}">
                <a16:creationId xmlns:a16="http://schemas.microsoft.com/office/drawing/2014/main" id="{32787253-4053-794C-B34D-D2856DB8966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67699883"/>
              </p:ext>
            </p:extLst>
          </p:nvPr>
        </p:nvGraphicFramePr>
        <p:xfrm>
          <a:off x="8232727" y="702534"/>
          <a:ext cx="3887713" cy="2914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56592C3A-4914-420B-9823-54E1CEF44AEF}"/>
              </a:ext>
            </a:extLst>
          </p:cNvPr>
          <p:cNvSpPr/>
          <p:nvPr/>
        </p:nvSpPr>
        <p:spPr>
          <a:xfrm>
            <a:off x="5617969" y="826636"/>
            <a:ext cx="146260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4" name="Chart 26">
            <a:extLst>
              <a:ext uri="{FF2B5EF4-FFF2-40B4-BE49-F238E27FC236}">
                <a16:creationId xmlns:a16="http://schemas.microsoft.com/office/drawing/2014/main" id="{87F69968-5B59-C545-94C8-61EE1C35BC0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88279137"/>
              </p:ext>
            </p:extLst>
          </p:nvPr>
        </p:nvGraphicFramePr>
        <p:xfrm>
          <a:off x="4056618" y="700956"/>
          <a:ext cx="4583048" cy="2902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graphicFrame>
        <p:nvGraphicFramePr>
          <p:cNvPr id="43" name="Chart 26">
            <a:extLst>
              <a:ext uri="{FF2B5EF4-FFF2-40B4-BE49-F238E27FC236}">
                <a16:creationId xmlns:a16="http://schemas.microsoft.com/office/drawing/2014/main" id="{5BD70BA4-B872-9D4C-817E-2EA66881B1F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3822097"/>
              </p:ext>
            </p:extLst>
          </p:nvPr>
        </p:nvGraphicFramePr>
        <p:xfrm>
          <a:off x="0" y="698354"/>
          <a:ext cx="3793011" cy="29029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B8DA2D12-8206-4D3D-9493-AF5446A62F01}"/>
              </a:ext>
            </a:extLst>
          </p:cNvPr>
          <p:cNvSpPr/>
          <p:nvPr/>
        </p:nvSpPr>
        <p:spPr>
          <a:xfrm>
            <a:off x="661690" y="829674"/>
            <a:ext cx="2692708" cy="19234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200" dirty="0"/>
              <a:t>MEDIA TV CHANNEL</a:t>
            </a:r>
            <a:r>
              <a:rPr lang="es-MX" sz="1800" dirty="0"/>
              <a:t> </a:t>
            </a:r>
            <a:r>
              <a:rPr lang="es-MX" sz="1000" dirty="0"/>
              <a:t>(48,000</a:t>
            </a:r>
            <a:r>
              <a:rPr lang="es-MX" sz="1000" baseline="0" dirty="0"/>
              <a:t> Grp’s)</a:t>
            </a:r>
            <a:endParaRPr lang="es-MX" sz="1000" dirty="0"/>
          </a:p>
        </p:txBody>
      </p:sp>
      <p:sp>
        <p:nvSpPr>
          <p:cNvPr id="63" name="Rectangle: Rounded Corners 62">
            <a:extLst>
              <a:ext uri="{FF2B5EF4-FFF2-40B4-BE49-F238E27FC236}">
                <a16:creationId xmlns:a16="http://schemas.microsoft.com/office/drawing/2014/main" id="{66F8AB4D-EADF-4793-B39F-087293A0A55C}"/>
              </a:ext>
            </a:extLst>
          </p:cNvPr>
          <p:cNvSpPr/>
          <p:nvPr/>
        </p:nvSpPr>
        <p:spPr>
          <a:xfrm>
            <a:off x="6105939" y="3714742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A51F7E7F-3005-452B-A37E-6345C488012C}"/>
              </a:ext>
            </a:extLst>
          </p:cNvPr>
          <p:cNvSpPr/>
          <p:nvPr/>
        </p:nvSpPr>
        <p:spPr>
          <a:xfrm>
            <a:off x="692058" y="3714440"/>
            <a:ext cx="1608866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408" y="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GRIPALES 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CE1A38D-B15D-44B8-8B16-ADBCF0FB153A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Target: H/M 18-45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Junio</a:t>
            </a:r>
            <a:r>
              <a:rPr kumimoji="0" lang="de-CH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j-ea"/>
                <a:cs typeface="+mj-cs"/>
                <a:sym typeface="Trebuchet MS" panose="020B0603020202020204" pitchFamily="34" charset="0"/>
              </a:rPr>
              <a:t> 2024 </a:t>
            </a:r>
          </a:p>
        </p:txBody>
      </p:sp>
      <p:pic>
        <p:nvPicPr>
          <p:cNvPr id="1026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FEEED1DF-8648-4950-89EB-7A9954C08F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27533FF8-4632-48D4-ADB0-357699504C4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4588065" y="687166"/>
            <a:ext cx="0" cy="292367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3608125"/>
            <a:ext cx="12370377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9483B254-E4F6-40A3-9B23-E4A24DF0AC0D}"/>
              </a:ext>
            </a:extLst>
          </p:cNvPr>
          <p:cNvSpPr txBox="1"/>
          <p:nvPr/>
        </p:nvSpPr>
        <p:spPr>
          <a:xfrm>
            <a:off x="40424" y="3668432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NEW CREATIV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9D43246-8B24-4048-847D-87FACD838830}"/>
              </a:ext>
            </a:extLst>
          </p:cNvPr>
          <p:cNvSpPr txBox="1"/>
          <p:nvPr/>
        </p:nvSpPr>
        <p:spPr>
          <a:xfrm>
            <a:off x="5441913" y="3663237"/>
            <a:ext cx="298162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kumimoji="0" lang="es-MX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TOP CREATIVE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E699863-3FD2-4A09-B169-473C440A7F79}"/>
              </a:ext>
            </a:extLst>
          </p:cNvPr>
          <p:cNvSpPr txBox="1"/>
          <p:nvPr/>
        </p:nvSpPr>
        <p:spPr>
          <a:xfrm>
            <a:off x="4904842" y="4912136"/>
            <a:ext cx="21936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Gripex Plus Te + Gripex Plus Activa</a:t>
            </a:r>
            <a:endParaRPr kumimoji="0" lang="es-MX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2B25D3B-90F6-43C3-AEAF-A57D756CB024}"/>
              </a:ext>
            </a:extLst>
          </p:cNvPr>
          <p:cNvSpPr txBox="1"/>
          <p:nvPr/>
        </p:nvSpPr>
        <p:spPr>
          <a:xfrm>
            <a:off x="7253677" y="4936266"/>
            <a:ext cx="210642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MX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1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</a:defRPr>
            </a:lvl1pPr>
          </a:lstStyle>
          <a:p>
            <a:r>
              <a:rPr lang="es-MX" dirty="0"/>
              <a:t>Dolofin  - Iniciamos el dia con todo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B61D8F93-DC41-4187-9DDC-CAF216947808}"/>
              </a:ext>
            </a:extLst>
          </p:cNvPr>
          <p:cNvCxnSpPr>
            <a:cxnSpLocks/>
          </p:cNvCxnSpPr>
          <p:nvPr/>
        </p:nvCxnSpPr>
        <p:spPr>
          <a:xfrm>
            <a:off x="2626275" y="3598995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60" name="Straight Connector 59">
            <a:extLst>
              <a:ext uri="{FF2B5EF4-FFF2-40B4-BE49-F238E27FC236}">
                <a16:creationId xmlns:a16="http://schemas.microsoft.com/office/drawing/2014/main" id="{F7B3C51B-B8A4-4BA3-B6F8-D38845A5B52C}"/>
              </a:ext>
            </a:extLst>
          </p:cNvPr>
          <p:cNvCxnSpPr>
            <a:cxnSpLocks/>
          </p:cNvCxnSpPr>
          <p:nvPr/>
        </p:nvCxnSpPr>
        <p:spPr>
          <a:xfrm>
            <a:off x="9315795" y="3614904"/>
            <a:ext cx="0" cy="3243096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:a16="http://schemas.microsoft.com/office/drawing/2014/main" id="{C125F62A-9C20-4B7B-9329-07AF495224FD}"/>
              </a:ext>
            </a:extLst>
          </p:cNvPr>
          <p:cNvSpPr txBox="1"/>
          <p:nvPr/>
        </p:nvSpPr>
        <p:spPr>
          <a:xfrm>
            <a:off x="9272765" y="3575230"/>
            <a:ext cx="2893295" cy="33085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Aprendizajes: </a:t>
            </a:r>
            <a:endParaRPr lang="es-MX" sz="1000" dirty="0">
              <a:solidFill>
                <a:prstClr val="black"/>
              </a:solidFill>
              <a:latin typeface="Abadi" panose="020B0604020104020204" pitchFamily="34" charset="0"/>
            </a:endParaRPr>
          </a:p>
          <a:p>
            <a:pPr algn="l"/>
            <a:r>
              <a:rPr lang="es-HN" sz="900" b="0" i="0" dirty="0">
                <a:solidFill>
                  <a:srgbClr val="0D0D0D"/>
                </a:solidFill>
                <a:effectLst/>
                <a:latin typeface="Söhne"/>
              </a:rPr>
              <a:t>Según el análisis, la categoría </a:t>
            </a:r>
            <a:r>
              <a:rPr lang="es-HN" sz="900" b="0" i="0">
                <a:solidFill>
                  <a:srgbClr val="0D0D0D"/>
                </a:solidFill>
                <a:effectLst/>
                <a:latin typeface="Söhne"/>
              </a:rPr>
              <a:t>experimenta una baja del % en </a:t>
            </a:r>
            <a:r>
              <a:rPr lang="es-HN" sz="900" b="0" i="0" dirty="0">
                <a:solidFill>
                  <a:srgbClr val="0D0D0D"/>
                </a:solidFill>
                <a:effectLst/>
                <a:latin typeface="Söhne"/>
              </a:rPr>
              <a:t>comparación con la actividad de 2023. La mayoría de las marcas  reflejan  crecimientos en su inversión a excepción de Tabcin GT que tiene una baja del </a:t>
            </a:r>
            <a:r>
              <a:rPr lang="es-HN" sz="900" dirty="0">
                <a:solidFill>
                  <a:srgbClr val="0D0D0D"/>
                </a:solidFill>
                <a:latin typeface="Söhne"/>
              </a:rPr>
              <a:t>26</a:t>
            </a:r>
            <a:r>
              <a:rPr lang="es-HN" sz="900" b="0" i="0" dirty="0">
                <a:solidFill>
                  <a:srgbClr val="0D0D0D"/>
                </a:solidFill>
                <a:effectLst/>
                <a:latin typeface="Söhne"/>
              </a:rPr>
              <a:t>% vrs Lo realizado el año anterior</a:t>
            </a:r>
          </a:p>
          <a:p>
            <a:pPr algn="l"/>
            <a:r>
              <a:rPr lang="es-HN" sz="900" dirty="0">
                <a:solidFill>
                  <a:srgbClr val="0D0D0D"/>
                </a:solidFill>
                <a:latin typeface="Söhne"/>
              </a:rPr>
              <a:t>El mayor pico de la categoría se presenta en mayo, mes en que la mayoría de las marcas se activan por período de lluvia.</a:t>
            </a:r>
            <a:endParaRPr lang="es-HN" sz="900" b="0" i="0" dirty="0">
              <a:solidFill>
                <a:srgbClr val="0D0D0D"/>
              </a:solidFill>
              <a:effectLst/>
              <a:latin typeface="Söhne"/>
            </a:endParaRPr>
          </a:p>
          <a:p>
            <a:pPr algn="l"/>
            <a:r>
              <a:rPr lang="es-HN" sz="900" b="0" i="0" dirty="0">
                <a:solidFill>
                  <a:srgbClr val="0D0D0D"/>
                </a:solidFill>
                <a:effectLst/>
                <a:latin typeface="Söhne"/>
              </a:rPr>
              <a:t>Gripex Plus, Dolofin Antigripal</a:t>
            </a:r>
            <a:r>
              <a:rPr lang="es-HN" sz="900" dirty="0">
                <a:solidFill>
                  <a:srgbClr val="0D0D0D"/>
                </a:solidFill>
                <a:latin typeface="Söhne"/>
              </a:rPr>
              <a:t> y</a:t>
            </a:r>
            <a:r>
              <a:rPr lang="es-HN" sz="900" b="0" i="0" dirty="0">
                <a:solidFill>
                  <a:srgbClr val="0D0D0D"/>
                </a:solidFill>
                <a:effectLst/>
                <a:latin typeface="Söhne"/>
              </a:rPr>
              <a:t> Mentolina ocupan las primeras posiciones. </a:t>
            </a:r>
          </a:p>
          <a:p>
            <a:pPr algn="l"/>
            <a:r>
              <a:rPr lang="es-HN" sz="900" b="0" i="0" dirty="0">
                <a:solidFill>
                  <a:srgbClr val="0D0D0D"/>
                </a:solidFill>
                <a:effectLst/>
                <a:latin typeface="Söhne"/>
              </a:rPr>
              <a:t>A pesar de que Tabcin GyT se encuentra en la posición 7 en el Índice de SOI</a:t>
            </a:r>
            <a:r>
              <a:rPr lang="es-HN" sz="900" dirty="0">
                <a:solidFill>
                  <a:srgbClr val="0D0D0D"/>
                </a:solidFill>
                <a:latin typeface="Söhne"/>
              </a:rPr>
              <a:t> , en el SOV </a:t>
            </a:r>
            <a:r>
              <a:rPr lang="es-HN" sz="900" b="0" i="0" dirty="0">
                <a:solidFill>
                  <a:srgbClr val="0D0D0D"/>
                </a:solidFill>
                <a:effectLst/>
                <a:latin typeface="Söhne"/>
              </a:rPr>
              <a:t>ocupa el </a:t>
            </a:r>
            <a:r>
              <a:rPr lang="es-HN" sz="900" dirty="0">
                <a:solidFill>
                  <a:srgbClr val="0D0D0D"/>
                </a:solidFill>
                <a:latin typeface="Söhne"/>
              </a:rPr>
              <a:t>segundo lugar .</a:t>
            </a:r>
          </a:p>
          <a:p>
            <a:pPr algn="l"/>
            <a:r>
              <a:rPr lang="es-HN" sz="900" b="0" i="0" dirty="0">
                <a:solidFill>
                  <a:srgbClr val="0D0D0D"/>
                </a:solidFill>
                <a:effectLst/>
                <a:latin typeface="Söhne"/>
              </a:rPr>
              <a:t>La TV es el medio principal en esta categoría</a:t>
            </a:r>
            <a:r>
              <a:rPr lang="es-HN" sz="900" dirty="0">
                <a:solidFill>
                  <a:srgbClr val="0D0D0D"/>
                </a:solidFill>
                <a:latin typeface="Söhne"/>
              </a:rPr>
              <a:t>, con el 78% del mix, </a:t>
            </a:r>
            <a:r>
              <a:rPr lang="es-HN" sz="900" b="0" i="0" dirty="0">
                <a:solidFill>
                  <a:srgbClr val="0D0D0D"/>
                </a:solidFill>
                <a:effectLst/>
                <a:latin typeface="Söhne"/>
              </a:rPr>
              <a:t> concentrando el </a:t>
            </a:r>
            <a:r>
              <a:rPr lang="es-HN" sz="900" dirty="0">
                <a:solidFill>
                  <a:srgbClr val="0D0D0D"/>
                </a:solidFill>
                <a:latin typeface="Söhne"/>
              </a:rPr>
              <a:t>58</a:t>
            </a:r>
            <a:r>
              <a:rPr lang="es-HN" sz="900" b="0" i="0" dirty="0">
                <a:solidFill>
                  <a:srgbClr val="0D0D0D"/>
                </a:solidFill>
                <a:effectLst/>
                <a:latin typeface="Söhne"/>
              </a:rPr>
              <a:t>% en el canal HCH. Tabcin ha enfocado su inversión en este canal, particularmente con el patrocinio del segmento climático. Se sugiere mantener este patrocinio dado su efectividad y relevancia.</a:t>
            </a:r>
          </a:p>
          <a:p>
            <a:pPr algn="l"/>
            <a:r>
              <a:rPr lang="es-HN" sz="900" b="0" i="0" dirty="0">
                <a:solidFill>
                  <a:srgbClr val="0D0D0D"/>
                </a:solidFill>
                <a:effectLst/>
                <a:latin typeface="Söhne"/>
              </a:rPr>
              <a:t>Tanto Ta</a:t>
            </a:r>
            <a:r>
              <a:rPr lang="es-HN" sz="900" dirty="0">
                <a:solidFill>
                  <a:srgbClr val="0D0D0D"/>
                </a:solidFill>
                <a:latin typeface="Söhne"/>
              </a:rPr>
              <a:t>bcin GT como Tabcin Niños, muestran los mas altos niveles de COE, esto por la utilización de las dos empresas televisivas mas importantes del pais.</a:t>
            </a:r>
            <a:endParaRPr lang="es-HN" sz="900" b="0" i="0" dirty="0">
              <a:solidFill>
                <a:srgbClr val="0D0D0D"/>
              </a:solidFill>
              <a:effectLst/>
              <a:latin typeface="Söhne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900" dirty="0">
                <a:solidFill>
                  <a:prstClr val="black"/>
                </a:solidFill>
                <a:latin typeface="Abadi" panose="020B060402010402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MX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91AB5A22-D25F-4A53-8305-C43193081AA7}"/>
              </a:ext>
            </a:extLst>
          </p:cNvPr>
          <p:cNvCxnSpPr>
            <a:cxnSpLocks/>
          </p:cNvCxnSpPr>
          <p:nvPr/>
        </p:nvCxnSpPr>
        <p:spPr>
          <a:xfrm>
            <a:off x="8719463" y="112481"/>
            <a:ext cx="0" cy="3502423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37" name="Tabla 10">
            <a:extLst>
              <a:ext uri="{FF2B5EF4-FFF2-40B4-BE49-F238E27FC236}">
                <a16:creationId xmlns:a16="http://schemas.microsoft.com/office/drawing/2014/main" id="{1A25FFBB-165D-8240-8800-3CA6B80AF4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2011648"/>
              </p:ext>
            </p:extLst>
          </p:nvPr>
        </p:nvGraphicFramePr>
        <p:xfrm>
          <a:off x="3699020" y="910583"/>
          <a:ext cx="900584" cy="2339289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491980">
                  <a:extLst>
                    <a:ext uri="{9D8B030D-6E8A-4147-A177-3AD203B41FA5}">
                      <a16:colId xmlns:a16="http://schemas.microsoft.com/office/drawing/2014/main" val="3008694403"/>
                    </a:ext>
                  </a:extLst>
                </a:gridCol>
                <a:gridCol w="408604">
                  <a:extLst>
                    <a:ext uri="{9D8B030D-6E8A-4147-A177-3AD203B41FA5}">
                      <a16:colId xmlns:a16="http://schemas.microsoft.com/office/drawing/2014/main" val="3680388117"/>
                    </a:ext>
                  </a:extLst>
                </a:gridCol>
              </a:tblGrid>
              <a:tr h="25992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solidFill>
                            <a:schemeClr val="tx1"/>
                          </a:solidFill>
                        </a:rPr>
                        <a:t>Grp’s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>
                          <a:solidFill>
                            <a:schemeClr val="tx1"/>
                          </a:solidFill>
                        </a:rPr>
                        <a:t>SOV</a:t>
                      </a:r>
                    </a:p>
                  </a:txBody>
                  <a:tcPr anchor="ctr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4843301"/>
                  </a:ext>
                </a:extLst>
              </a:tr>
              <a:tr h="25992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12,58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2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414059227"/>
                  </a:ext>
                </a:extLst>
              </a:tr>
              <a:tr h="25992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8,19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17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58004041"/>
                  </a:ext>
                </a:extLst>
              </a:tr>
              <a:tr h="25992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6,2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1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3345858"/>
                  </a:ext>
                </a:extLst>
              </a:tr>
              <a:tr h="25992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4,6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1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60490226"/>
                  </a:ext>
                </a:extLst>
              </a:tr>
              <a:tr h="25992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4,06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983563414"/>
                  </a:ext>
                </a:extLst>
              </a:tr>
              <a:tr h="25992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3,85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8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19434899"/>
                  </a:ext>
                </a:extLst>
              </a:tr>
              <a:tr h="25992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1,68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8311988"/>
                  </a:ext>
                </a:extLst>
              </a:tr>
              <a:tr h="259921"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1,00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dirty="0"/>
                        <a:t>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2230626"/>
                  </a:ext>
                </a:extLst>
              </a:tr>
            </a:tbl>
          </a:graphicData>
        </a:graphic>
      </p:graphicFrame>
      <p:graphicFrame>
        <p:nvGraphicFramePr>
          <p:cNvPr id="10" name="Tabla 12">
            <a:extLst>
              <a:ext uri="{FF2B5EF4-FFF2-40B4-BE49-F238E27FC236}">
                <a16:creationId xmlns:a16="http://schemas.microsoft.com/office/drawing/2014/main" id="{4AE1B994-A51F-A246-8EC5-0510F9D5D6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0596091"/>
              </p:ext>
            </p:extLst>
          </p:nvPr>
        </p:nvGraphicFramePr>
        <p:xfrm>
          <a:off x="865842" y="3394765"/>
          <a:ext cx="2692320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38464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538464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538464">
                  <a:extLst>
                    <a:ext uri="{9D8B030D-6E8A-4147-A177-3AD203B41FA5}">
                      <a16:colId xmlns:a16="http://schemas.microsoft.com/office/drawing/2014/main" val="2289583996"/>
                    </a:ext>
                  </a:extLst>
                </a:gridCol>
                <a:gridCol w="538464">
                  <a:extLst>
                    <a:ext uri="{9D8B030D-6E8A-4147-A177-3AD203B41FA5}">
                      <a16:colId xmlns:a16="http://schemas.microsoft.com/office/drawing/2014/main" val="740861626"/>
                    </a:ext>
                  </a:extLst>
                </a:gridCol>
                <a:gridCol w="538464">
                  <a:extLst>
                    <a:ext uri="{9D8B030D-6E8A-4147-A177-3AD203B41FA5}">
                      <a16:colId xmlns:a16="http://schemas.microsoft.com/office/drawing/2014/main" val="188664091"/>
                    </a:ext>
                  </a:extLst>
                </a:gridCol>
              </a:tblGrid>
              <a:tr h="182636"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8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53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7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8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58" name="Tabla 12">
            <a:extLst>
              <a:ext uri="{FF2B5EF4-FFF2-40B4-BE49-F238E27FC236}">
                <a16:creationId xmlns:a16="http://schemas.microsoft.com/office/drawing/2014/main" id="{9477658C-9225-1646-B9F0-8D09E42A25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7163336"/>
              </p:ext>
            </p:extLst>
          </p:nvPr>
        </p:nvGraphicFramePr>
        <p:xfrm>
          <a:off x="4802955" y="3359029"/>
          <a:ext cx="3290930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8186">
                  <a:extLst>
                    <a:ext uri="{9D8B030D-6E8A-4147-A177-3AD203B41FA5}">
                      <a16:colId xmlns:a16="http://schemas.microsoft.com/office/drawing/2014/main" val="4117187888"/>
                    </a:ext>
                  </a:extLst>
                </a:gridCol>
                <a:gridCol w="658186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658186">
                  <a:extLst>
                    <a:ext uri="{9D8B030D-6E8A-4147-A177-3AD203B41FA5}">
                      <a16:colId xmlns:a16="http://schemas.microsoft.com/office/drawing/2014/main" val="2289583996"/>
                    </a:ext>
                  </a:extLst>
                </a:gridCol>
                <a:gridCol w="658186">
                  <a:extLst>
                    <a:ext uri="{9D8B030D-6E8A-4147-A177-3AD203B41FA5}">
                      <a16:colId xmlns:a16="http://schemas.microsoft.com/office/drawing/2014/main" val="740861626"/>
                    </a:ext>
                  </a:extLst>
                </a:gridCol>
                <a:gridCol w="658186">
                  <a:extLst>
                    <a:ext uri="{9D8B030D-6E8A-4147-A177-3AD203B41FA5}">
                      <a16:colId xmlns:a16="http://schemas.microsoft.com/office/drawing/2014/main" val="188664091"/>
                    </a:ext>
                  </a:extLst>
                </a:gridCol>
              </a:tblGrid>
              <a:tr h="174921"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57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5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7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15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6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graphicFrame>
        <p:nvGraphicFramePr>
          <p:cNvPr id="65" name="Tabla 12">
            <a:extLst>
              <a:ext uri="{FF2B5EF4-FFF2-40B4-BE49-F238E27FC236}">
                <a16:creationId xmlns:a16="http://schemas.microsoft.com/office/drawing/2014/main" id="{59B95150-015E-3049-9DF1-C35A823E7F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8900860"/>
              </p:ext>
            </p:extLst>
          </p:nvPr>
        </p:nvGraphicFramePr>
        <p:xfrm>
          <a:off x="9386597" y="3367096"/>
          <a:ext cx="1864500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6125">
                  <a:extLst>
                    <a:ext uri="{9D8B030D-6E8A-4147-A177-3AD203B41FA5}">
                      <a16:colId xmlns:a16="http://schemas.microsoft.com/office/drawing/2014/main" val="83658708"/>
                    </a:ext>
                  </a:extLst>
                </a:gridCol>
                <a:gridCol w="466125">
                  <a:extLst>
                    <a:ext uri="{9D8B030D-6E8A-4147-A177-3AD203B41FA5}">
                      <a16:colId xmlns:a16="http://schemas.microsoft.com/office/drawing/2014/main" val="290760883"/>
                    </a:ext>
                  </a:extLst>
                </a:gridCol>
                <a:gridCol w="466125">
                  <a:extLst>
                    <a:ext uri="{9D8B030D-6E8A-4147-A177-3AD203B41FA5}">
                      <a16:colId xmlns:a16="http://schemas.microsoft.com/office/drawing/2014/main" val="188664091"/>
                    </a:ext>
                  </a:extLst>
                </a:gridCol>
                <a:gridCol w="466125">
                  <a:extLst>
                    <a:ext uri="{9D8B030D-6E8A-4147-A177-3AD203B41FA5}">
                      <a16:colId xmlns:a16="http://schemas.microsoft.com/office/drawing/2014/main" val="3416489875"/>
                    </a:ext>
                  </a:extLst>
                </a:gridCol>
              </a:tblGrid>
              <a:tr h="129139"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4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20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5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800" b="0" dirty="0">
                          <a:solidFill>
                            <a:schemeClr val="tx1"/>
                          </a:solidFill>
                          <a:latin typeface="Abadi MT Condensed Light" panose="020B0306030101010103" pitchFamily="34" charset="77"/>
                        </a:rPr>
                        <a:t>35%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2813562"/>
                  </a:ext>
                </a:extLst>
              </a:tr>
            </a:tbl>
          </a:graphicData>
        </a:graphic>
      </p:graphicFrame>
      <p:pic>
        <p:nvPicPr>
          <p:cNvPr id="12" name="50406524011080000-2630-2658.mp4" descr="50406524011080000-2630-2658.mp4">
            <a:hlinkClick r:id="" action="ppaction://media"/>
            <a:extLst>
              <a:ext uri="{FF2B5EF4-FFF2-40B4-BE49-F238E27FC236}">
                <a16:creationId xmlns:a16="http://schemas.microsoft.com/office/drawing/2014/main" id="{20AED36D-99BF-024F-84E5-EF755EF745FA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21"/>
          <a:stretch>
            <a:fillRect/>
          </a:stretch>
        </p:blipFill>
        <p:spPr>
          <a:xfrm>
            <a:off x="4997937" y="3962656"/>
            <a:ext cx="1990790" cy="984753"/>
          </a:xfrm>
          <a:prstGeom prst="rect">
            <a:avLst/>
          </a:prstGeom>
        </p:spPr>
      </p:pic>
      <p:sp>
        <p:nvSpPr>
          <p:cNvPr id="45" name="TextBox 48">
            <a:extLst>
              <a:ext uri="{FF2B5EF4-FFF2-40B4-BE49-F238E27FC236}">
                <a16:creationId xmlns:a16="http://schemas.microsoft.com/office/drawing/2014/main" id="{B9F36C3F-E3FA-E94B-9DBF-9E4C7184D74D}"/>
              </a:ext>
            </a:extLst>
          </p:cNvPr>
          <p:cNvSpPr txBox="1"/>
          <p:nvPr/>
        </p:nvSpPr>
        <p:spPr>
          <a:xfrm>
            <a:off x="4868941" y="6347905"/>
            <a:ext cx="19247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000" b="1" dirty="0">
                <a:solidFill>
                  <a:prstClr val="black"/>
                </a:solidFill>
                <a:latin typeface="Abadi" panose="020B0604020104020204" pitchFamily="34" charset="0"/>
              </a:rPr>
              <a:t>Broncopulmin: Al primer sintoma de la gripe + caramelo</a:t>
            </a:r>
            <a:endParaRPr kumimoji="0" lang="es-MX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sp>
        <p:nvSpPr>
          <p:cNvPr id="50" name="TextBox 51">
            <a:extLst>
              <a:ext uri="{FF2B5EF4-FFF2-40B4-BE49-F238E27FC236}">
                <a16:creationId xmlns:a16="http://schemas.microsoft.com/office/drawing/2014/main" id="{3116112D-B286-3E4A-B4B7-6F2B75AC13D0}"/>
              </a:ext>
            </a:extLst>
          </p:cNvPr>
          <p:cNvSpPr txBox="1"/>
          <p:nvPr/>
        </p:nvSpPr>
        <p:spPr>
          <a:xfrm>
            <a:off x="7089514" y="6380722"/>
            <a:ext cx="2106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Pectofenil Multisintomas </a:t>
            </a:r>
            <a:r>
              <a:rPr kumimoji="0" lang="es-MX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badi" panose="020B0604020104020204" pitchFamily="34" charset="0"/>
                <a:ea typeface="+mn-ea"/>
                <a:cs typeface="+mn-cs"/>
              </a:rPr>
              <a:t> -Alivia con todos esos molestos síntoma</a:t>
            </a:r>
          </a:p>
        </p:txBody>
      </p:sp>
      <p:pic>
        <p:nvPicPr>
          <p:cNvPr id="19" name="50405924016070000-3524-3544.mp4" descr="50405924016070000-3524-3544.mp4">
            <a:hlinkClick r:id="" action="ppaction://media"/>
            <a:extLst>
              <a:ext uri="{FF2B5EF4-FFF2-40B4-BE49-F238E27FC236}">
                <a16:creationId xmlns:a16="http://schemas.microsoft.com/office/drawing/2014/main" id="{F690207C-2621-1344-B12A-3CCD959B234C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22"/>
          <a:stretch>
            <a:fillRect/>
          </a:stretch>
        </p:blipFill>
        <p:spPr>
          <a:xfrm>
            <a:off x="7253666" y="5220839"/>
            <a:ext cx="1864852" cy="1145278"/>
          </a:xfrm>
          <a:prstGeom prst="rect">
            <a:avLst/>
          </a:prstGeom>
        </p:spPr>
      </p:pic>
      <p:pic>
        <p:nvPicPr>
          <p:cNvPr id="41" name="50406524024120000-2654-2682.mp4" descr="50406524024120000-2654-2682.mp4">
            <a:hlinkClick r:id="" action="ppaction://media"/>
            <a:extLst>
              <a:ext uri="{FF2B5EF4-FFF2-40B4-BE49-F238E27FC236}">
                <a16:creationId xmlns:a16="http://schemas.microsoft.com/office/drawing/2014/main" id="{12A09AC8-1645-164C-BE04-1EE4FA0FDB34}"/>
              </a:ext>
            </a:extLst>
          </p:cNvPr>
          <p:cNvPicPr>
            <a:picLocks noChangeAspect="1"/>
          </p:cNvPicPr>
          <p:nvPr>
            <a:videoFile r:link="rId6"/>
            <p:extLst>
              <p:ext uri="{DAA4B4D4-6D71-4841-9C94-3DE7FCFB9230}">
                <p14:media xmlns:p14="http://schemas.microsoft.com/office/powerpoint/2010/main" r:embed="rId5"/>
              </p:ext>
            </p:extLst>
          </p:nvPr>
        </p:nvPicPr>
        <p:blipFill>
          <a:blip r:embed="rId23"/>
          <a:stretch>
            <a:fillRect/>
          </a:stretch>
        </p:blipFill>
        <p:spPr>
          <a:xfrm>
            <a:off x="7176248" y="3973157"/>
            <a:ext cx="1908996" cy="983949"/>
          </a:xfrm>
          <a:prstGeom prst="rect">
            <a:avLst/>
          </a:prstGeom>
        </p:spPr>
      </p:pic>
      <p:pic>
        <p:nvPicPr>
          <p:cNvPr id="7" name="50401223300190000-1120-1148.mp4" descr="50401223300190000-1120-1148.mp4">
            <a:hlinkClick r:id="" action="ppaction://media"/>
            <a:extLst>
              <a:ext uri="{FF2B5EF4-FFF2-40B4-BE49-F238E27FC236}">
                <a16:creationId xmlns:a16="http://schemas.microsoft.com/office/drawing/2014/main" id="{A3730997-3DDE-D346-A364-8DEAC5DB5F2C}"/>
              </a:ext>
            </a:extLst>
          </p:cNvPr>
          <p:cNvPicPr>
            <a:picLocks noChangeAspect="1"/>
          </p:cNvPicPr>
          <p:nvPr>
            <a:videoFile r:link="rId8"/>
            <p:extLst>
              <p:ext uri="{DAA4B4D4-6D71-4841-9C94-3DE7FCFB9230}">
                <p14:media xmlns:p14="http://schemas.microsoft.com/office/powerpoint/2010/main" r:embed="rId7"/>
              </p:ext>
            </p:extLst>
          </p:nvPr>
        </p:nvPicPr>
        <p:blipFill>
          <a:blip r:embed="rId24"/>
          <a:stretch>
            <a:fillRect/>
          </a:stretch>
        </p:blipFill>
        <p:spPr>
          <a:xfrm>
            <a:off x="2876205" y="3973157"/>
            <a:ext cx="1946514" cy="983949"/>
          </a:xfrm>
          <a:prstGeom prst="rect">
            <a:avLst/>
          </a:prstGeom>
        </p:spPr>
      </p:pic>
      <p:sp>
        <p:nvSpPr>
          <p:cNvPr id="42" name="TextBox 48">
            <a:extLst>
              <a:ext uri="{FF2B5EF4-FFF2-40B4-BE49-F238E27FC236}">
                <a16:creationId xmlns:a16="http://schemas.microsoft.com/office/drawing/2014/main" id="{E3897A89-6F6B-324B-AB79-8DC5444E4D0B}"/>
              </a:ext>
            </a:extLst>
          </p:cNvPr>
          <p:cNvSpPr txBox="1"/>
          <p:nvPr/>
        </p:nvSpPr>
        <p:spPr>
          <a:xfrm>
            <a:off x="2796039" y="4920553"/>
            <a:ext cx="219367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000" b="1" dirty="0">
                <a:solidFill>
                  <a:prstClr val="black"/>
                </a:solidFill>
                <a:latin typeface="Abadi" panose="020B0604020104020204" pitchFamily="34" charset="0"/>
              </a:rPr>
              <a:t>Delor antigripal  </a:t>
            </a:r>
            <a:r>
              <a:rPr lang="es-MX" sz="1000" dirty="0">
                <a:solidFill>
                  <a:prstClr val="black"/>
                </a:solidFill>
                <a:latin typeface="Abadi" panose="020B0604020104020204" pitchFamily="34" charset="0"/>
              </a:rPr>
              <a:t>: Despertar asi…”</a:t>
            </a:r>
            <a:endParaRPr kumimoji="0" lang="es-MX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  <p:pic>
        <p:nvPicPr>
          <p:cNvPr id="40" name="50401124101180000-706-714.mp4" descr="50401124101180000-706-714.mp4">
            <a:hlinkClick r:id="" action="ppaction://media"/>
            <a:extLst>
              <a:ext uri="{FF2B5EF4-FFF2-40B4-BE49-F238E27FC236}">
                <a16:creationId xmlns:a16="http://schemas.microsoft.com/office/drawing/2014/main" id="{99B448DA-9452-8E48-9015-61F6016116AB}"/>
              </a:ext>
            </a:extLst>
          </p:cNvPr>
          <p:cNvPicPr>
            <a:picLocks noChangeAspect="1"/>
          </p:cNvPicPr>
          <p:nvPr>
            <a:videoFile r:link="rId10"/>
            <p:extLst>
              <p:ext uri="{DAA4B4D4-6D71-4841-9C94-3DE7FCFB9230}">
                <p14:media xmlns:p14="http://schemas.microsoft.com/office/powerpoint/2010/main" r:embed="rId9"/>
              </p:ext>
            </p:extLst>
          </p:nvPr>
        </p:nvPicPr>
        <p:blipFill>
          <a:blip r:embed="rId25"/>
          <a:stretch>
            <a:fillRect/>
          </a:stretch>
        </p:blipFill>
        <p:spPr>
          <a:xfrm>
            <a:off x="4997940" y="5215711"/>
            <a:ext cx="1990784" cy="1143437"/>
          </a:xfrm>
          <a:prstGeom prst="rect">
            <a:avLst/>
          </a:prstGeom>
        </p:spPr>
      </p:pic>
      <p:pic>
        <p:nvPicPr>
          <p:cNvPr id="3" name="50401024108120000-2984-3016.mp4" descr="50401024108120000-2984-3016.mp4">
            <a:hlinkClick r:id="" action="ppaction://media"/>
            <a:extLst>
              <a:ext uri="{FF2B5EF4-FFF2-40B4-BE49-F238E27FC236}">
                <a16:creationId xmlns:a16="http://schemas.microsoft.com/office/drawing/2014/main" id="{864D06ED-A0D9-8F47-B8AF-909DAB14B7E4}"/>
              </a:ext>
            </a:extLst>
          </p:cNvPr>
          <p:cNvPicPr>
            <a:picLocks noChangeAspect="1"/>
          </p:cNvPicPr>
          <p:nvPr>
            <a:videoFile r:link="rId12"/>
            <p:extLst>
              <p:ext uri="{DAA4B4D4-6D71-4841-9C94-3DE7FCFB9230}">
                <p14:media xmlns:p14="http://schemas.microsoft.com/office/powerpoint/2010/main" r:embed="rId11"/>
              </p:ext>
            </p:extLst>
          </p:nvPr>
        </p:nvPicPr>
        <p:blipFill>
          <a:blip r:embed="rId26"/>
          <a:stretch>
            <a:fillRect/>
          </a:stretch>
        </p:blipFill>
        <p:spPr>
          <a:xfrm>
            <a:off x="2870363" y="5210563"/>
            <a:ext cx="1930297" cy="1145279"/>
          </a:xfrm>
          <a:prstGeom prst="rect">
            <a:avLst/>
          </a:prstGeom>
        </p:spPr>
      </p:pic>
      <p:sp>
        <p:nvSpPr>
          <p:cNvPr id="46" name="TextBox 48">
            <a:extLst>
              <a:ext uri="{FF2B5EF4-FFF2-40B4-BE49-F238E27FC236}">
                <a16:creationId xmlns:a16="http://schemas.microsoft.com/office/drawing/2014/main" id="{6B4C1E29-C5CD-5C47-9D3E-8B7D886F924D}"/>
              </a:ext>
            </a:extLst>
          </p:cNvPr>
          <p:cNvSpPr txBox="1"/>
          <p:nvPr/>
        </p:nvSpPr>
        <p:spPr>
          <a:xfrm>
            <a:off x="2828942" y="6357763"/>
            <a:ext cx="192472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000" b="1" dirty="0">
                <a:solidFill>
                  <a:prstClr val="black"/>
                </a:solidFill>
                <a:latin typeface="Abadi" panose="020B0604020104020204" pitchFamily="34" charset="0"/>
              </a:rPr>
              <a:t>Mentolina: Para que tengas un buen dia debes tener una buena noche</a:t>
            </a:r>
            <a:endParaRPr kumimoji="0" lang="es-MX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badi" panose="020B0604020104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3296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1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1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  <p:seq concurrent="1" nextAc="seek">
              <p:cTn id="14" restart="whenNotActive" fill="hold" evtFilter="cancelBubble" nodeType="interactiveSeq">
                <p:stCondLst>
                  <p:cond evt="onClick" delay="0">
                    <p:tgtEl>
                      <p:spTgt spid="4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5" fill="hold">
                      <p:stCondLst>
                        <p:cond delay="0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8" dur="1" fill="hold"/>
                                        <p:tgtEl>
                                          <p:spTgt spid="4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1"/>
                  </p:tgtEl>
                </p:cond>
              </p:nextCondLst>
            </p:seq>
            <p:video>
              <p:cMediaNode vol="80000">
                <p:cTn id="19" fill="hold" display="0">
                  <p:stCondLst>
                    <p:cond delay="indefinite"/>
                  </p:stCondLst>
                </p:cTn>
                <p:tgtEl>
                  <p:spTgt spid="41"/>
                </p:tgtEl>
              </p:cMediaNode>
            </p:video>
            <p:seq concurrent="1" nextAc="seek">
              <p:cTn id="20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1" fill="hold">
                      <p:stCondLst>
                        <p:cond delay="0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4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25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26" restart="whenNotActive" fill="hold" evtFilter="cancelBubble" nodeType="interactiveSeq">
                <p:stCondLst>
                  <p:cond evt="onClick" delay="0">
                    <p:tgtEl>
                      <p:spTgt spid="4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27" fill="hold">
                      <p:stCondLst>
                        <p:cond delay="0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0" dur="1" fill="hold"/>
                                        <p:tgtEl>
                                          <p:spTgt spid="4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0"/>
                  </p:tgtEl>
                </p:cond>
              </p:nextCondLst>
            </p:seq>
            <p:video>
              <p:cMediaNode vol="80000">
                <p:cTn id="31" fill="hold" display="0">
                  <p:stCondLst>
                    <p:cond delay="indefinite"/>
                  </p:stCondLst>
                </p:cTn>
                <p:tgtEl>
                  <p:spTgt spid="40"/>
                </p:tgtEl>
              </p:cMediaNode>
            </p:video>
            <p:seq concurrent="1" nextAc="seek">
              <p:cTn id="32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3" fill="hold">
                      <p:stCondLst>
                        <p:cond delay="0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36" dur="1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  <p:video>
              <p:cMediaNode vol="80000">
                <p:cTn id="37" fill="hold" display="0">
                  <p:stCondLst>
                    <p:cond delay="indefinite"/>
                  </p:stCondLst>
                </p:cTn>
                <p:tgtEl>
                  <p:spTgt spid="19"/>
                </p:tgtEl>
              </p:cMediaNode>
            </p:video>
          </p:childTnLst>
        </p:cTn>
      </p:par>
    </p:tnLst>
  </p:timing>
  <p:extLst>
    <p:ext uri="{6950BFC3-D8DA-4A85-94F7-54DA5524770B}">
      <p188:commentRel xmlns:p188="http://schemas.microsoft.com/office/powerpoint/2018/8/main" r:id="rId15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0408" y="0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GRIPALES 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BCE2A666-5A11-4E16-A61A-50F8F6DB60B1}"/>
              </a:ext>
            </a:extLst>
          </p:cNvPr>
          <p:cNvSpPr/>
          <p:nvPr/>
        </p:nvSpPr>
        <p:spPr>
          <a:xfrm>
            <a:off x="5333214" y="607962"/>
            <a:ext cx="1608866" cy="225907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45068628-66AB-4882-89F7-38BC30276AAB}"/>
              </a:ext>
            </a:extLst>
          </p:cNvPr>
          <p:cNvSpPr txBox="1"/>
          <p:nvPr/>
        </p:nvSpPr>
        <p:spPr>
          <a:xfrm>
            <a:off x="4647337" y="563303"/>
            <a:ext cx="298162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defRPr sz="1200" b="1" i="0" u="none" strike="noStrike" kern="1200" baseline="0">
                <a:solidFill>
                  <a:prstClr val="black"/>
                </a:solidFill>
                <a:latin typeface="Abadi" panose="020B0604020104020204" pitchFamily="34" charset="0"/>
                <a:ea typeface="+mn-ea"/>
                <a:cs typeface="+mn-cs"/>
              </a:defRPr>
            </a:pPr>
            <a:r>
              <a:rPr lang="es-MX" sz="1600" dirty="0"/>
              <a:t>TÁCTICAS BAYER</a:t>
            </a:r>
          </a:p>
        </p:txBody>
      </p:sp>
      <p:sp>
        <p:nvSpPr>
          <p:cNvPr id="63" name="Title 1">
            <a:extLst>
              <a:ext uri="{FF2B5EF4-FFF2-40B4-BE49-F238E27FC236}">
                <a16:creationId xmlns:a16="http://schemas.microsoft.com/office/drawing/2014/main" id="{37C733DC-BC95-4E93-B24E-E6E3244025DC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18-45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, 2024 </a:t>
            </a:r>
          </a:p>
        </p:txBody>
      </p:sp>
      <p:pic>
        <p:nvPicPr>
          <p:cNvPr id="64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A1513007-9818-4183-B323-4A8938FEA9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0AFB4ED1-6F9C-451F-B2AE-2511A55397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TextBox 10">
            <a:extLst>
              <a:ext uri="{FF2B5EF4-FFF2-40B4-BE49-F238E27FC236}">
                <a16:creationId xmlns:a16="http://schemas.microsoft.com/office/drawing/2014/main" id="{78591E11-24F8-4B46-B4C6-B424FD3BF05D}"/>
              </a:ext>
            </a:extLst>
          </p:cNvPr>
          <p:cNvSpPr txBox="1"/>
          <p:nvPr/>
        </p:nvSpPr>
        <p:spPr>
          <a:xfrm>
            <a:off x="2745386" y="954214"/>
            <a:ext cx="880242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R" sz="1300" b="1" dirty="0" err="1">
                <a:latin typeface="Abadi" panose="020B0604020104020204" pitchFamily="34" charset="0"/>
                <a:ea typeface="Merriweather"/>
                <a:cs typeface="Merriweather"/>
              </a:rPr>
              <a:t>Tabcin</a:t>
            </a:r>
            <a:r>
              <a:rPr lang="es-CR" sz="1300" b="1" dirty="0">
                <a:latin typeface="Abadi" panose="020B0604020104020204" pitchFamily="34" charset="0"/>
                <a:ea typeface="Merriweather"/>
                <a:cs typeface="Merriweather"/>
              </a:rPr>
              <a:t> GT</a:t>
            </a:r>
          </a:p>
        </p:txBody>
      </p:sp>
      <p:sp>
        <p:nvSpPr>
          <p:cNvPr id="67" name="Marcador de contenido 2">
            <a:extLst>
              <a:ext uri="{FF2B5EF4-FFF2-40B4-BE49-F238E27FC236}">
                <a16:creationId xmlns:a16="http://schemas.microsoft.com/office/drawing/2014/main" id="{6C9FAEB1-3810-478C-840A-9D62FEDFB20D}"/>
              </a:ext>
            </a:extLst>
          </p:cNvPr>
          <p:cNvSpPr txBox="1">
            <a:spLocks/>
          </p:cNvSpPr>
          <p:nvPr/>
        </p:nvSpPr>
        <p:spPr>
          <a:xfrm>
            <a:off x="1960075" y="3042087"/>
            <a:ext cx="2507957" cy="1026320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  <a:p>
            <a:pPr algn="ctr"/>
            <a:r>
              <a:rPr lang="es-MX" sz="1200" dirty="0">
                <a:latin typeface="Abadi" panose="020B0604020104020204" pitchFamily="34" charset="0"/>
              </a:rPr>
              <a:t>Paq deportivo en Emisoras Unidas – Patrocinio Falta Aleve </a:t>
            </a:r>
          </a:p>
          <a:p>
            <a:pPr marL="0" indent="0">
              <a:buNone/>
            </a:pPr>
            <a:endParaRPr lang="es-MX" sz="1200" dirty="0">
              <a:latin typeface="Abadi" panose="020B0604020104020204" pitchFamily="34" charset="0"/>
            </a:endParaRPr>
          </a:p>
          <a:p>
            <a:pPr marL="0" indent="0">
              <a:buNone/>
            </a:pPr>
            <a:endParaRPr lang="es-MX" sz="1200" b="1" dirty="0">
              <a:latin typeface="Abadi" panose="020B0604020104020204" pitchFamily="34" charset="0"/>
            </a:endParaRPr>
          </a:p>
          <a:p>
            <a:pPr marL="0" indent="0">
              <a:buClr>
                <a:srgbClr val="002060"/>
              </a:buClr>
              <a:buNone/>
            </a:pPr>
            <a:endParaRPr lang="es-MX" sz="1200" dirty="0">
              <a:latin typeface="Abadi" panose="020B0604020104020204" pitchFamily="34" charset="0"/>
            </a:endParaRPr>
          </a:p>
        </p:txBody>
      </p:sp>
      <p:sp>
        <p:nvSpPr>
          <p:cNvPr id="68" name="Marcador de contenido 2">
            <a:extLst>
              <a:ext uri="{FF2B5EF4-FFF2-40B4-BE49-F238E27FC236}">
                <a16:creationId xmlns:a16="http://schemas.microsoft.com/office/drawing/2014/main" id="{AEF0D607-8ECC-4362-A3C0-B6CB48E9469F}"/>
              </a:ext>
            </a:extLst>
          </p:cNvPr>
          <p:cNvSpPr txBox="1">
            <a:spLocks/>
          </p:cNvSpPr>
          <p:nvPr/>
        </p:nvSpPr>
        <p:spPr>
          <a:xfrm>
            <a:off x="1960072" y="4281635"/>
            <a:ext cx="2507957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002060"/>
              </a:buClr>
              <a:buNone/>
            </a:pPr>
            <a:r>
              <a:rPr lang="es-CR" sz="1100" b="1" dirty="0">
                <a:latin typeface="Abadi" panose="020B0604020104020204" pitchFamily="34" charset="0"/>
              </a:rPr>
              <a:t>OOH:</a:t>
            </a:r>
            <a:endParaRPr lang="es-MX" sz="1100" dirty="0">
              <a:highlight>
                <a:srgbClr val="C0C0C0"/>
              </a:highlight>
              <a:latin typeface="Abadi" panose="020B0604020104020204" pitchFamily="34" charset="0"/>
            </a:endParaRPr>
          </a:p>
        </p:txBody>
      </p:sp>
      <p:sp>
        <p:nvSpPr>
          <p:cNvPr id="69" name="Marcador de contenido 2">
            <a:extLst>
              <a:ext uri="{FF2B5EF4-FFF2-40B4-BE49-F238E27FC236}">
                <a16:creationId xmlns:a16="http://schemas.microsoft.com/office/drawing/2014/main" id="{2DB402FF-6B37-478C-BCFE-5804060C52EA}"/>
              </a:ext>
            </a:extLst>
          </p:cNvPr>
          <p:cNvSpPr txBox="1">
            <a:spLocks/>
          </p:cNvSpPr>
          <p:nvPr/>
        </p:nvSpPr>
        <p:spPr>
          <a:xfrm>
            <a:off x="4814807" y="4281635"/>
            <a:ext cx="2507961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</a:t>
            </a:r>
          </a:p>
          <a:p>
            <a:pPr marL="0" indent="0">
              <a:buNone/>
            </a:pPr>
            <a:endParaRPr lang="es-MX" sz="1200" dirty="0">
              <a:latin typeface="Abadi" panose="020B0604020104020204" pitchFamily="34" charset="0"/>
            </a:endParaRPr>
          </a:p>
        </p:txBody>
      </p:sp>
      <p:pic>
        <p:nvPicPr>
          <p:cNvPr id="70" name="Imagen 11">
            <a:extLst>
              <a:ext uri="{FF2B5EF4-FFF2-40B4-BE49-F238E27FC236}">
                <a16:creationId xmlns:a16="http://schemas.microsoft.com/office/drawing/2014/main" id="{451B553E-ED32-4F1D-A6FF-03C216BBB12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95" y="1747895"/>
            <a:ext cx="672955" cy="672955"/>
          </a:xfrm>
          <a:prstGeom prst="rect">
            <a:avLst/>
          </a:prstGeom>
        </p:spPr>
      </p:pic>
      <p:pic>
        <p:nvPicPr>
          <p:cNvPr id="71" name="Imagen 14">
            <a:extLst>
              <a:ext uri="{FF2B5EF4-FFF2-40B4-BE49-F238E27FC236}">
                <a16:creationId xmlns:a16="http://schemas.microsoft.com/office/drawing/2014/main" id="{2C069AEB-59AA-4C87-9A84-BA749CF3608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8" y="4731461"/>
            <a:ext cx="594850" cy="594850"/>
          </a:xfrm>
          <a:prstGeom prst="rect">
            <a:avLst/>
          </a:prstGeom>
        </p:spPr>
      </p:pic>
      <p:pic>
        <p:nvPicPr>
          <p:cNvPr id="72" name="Imagen 15">
            <a:extLst>
              <a:ext uri="{FF2B5EF4-FFF2-40B4-BE49-F238E27FC236}">
                <a16:creationId xmlns:a16="http://schemas.microsoft.com/office/drawing/2014/main" id="{DFAE6BED-7440-400D-BA2C-D6B241ACC46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95" y="3228641"/>
            <a:ext cx="653212" cy="653212"/>
          </a:xfrm>
          <a:prstGeom prst="rect">
            <a:avLst/>
          </a:prstGeom>
        </p:spPr>
      </p:pic>
      <p:sp>
        <p:nvSpPr>
          <p:cNvPr id="73" name="Marcador de contenido 2">
            <a:extLst>
              <a:ext uri="{FF2B5EF4-FFF2-40B4-BE49-F238E27FC236}">
                <a16:creationId xmlns:a16="http://schemas.microsoft.com/office/drawing/2014/main" id="{0FE48130-2DCC-4967-9041-99028F194917}"/>
              </a:ext>
            </a:extLst>
          </p:cNvPr>
          <p:cNvSpPr txBox="1">
            <a:spLocks/>
          </p:cNvSpPr>
          <p:nvPr/>
        </p:nvSpPr>
        <p:spPr>
          <a:xfrm>
            <a:off x="7714864" y="3042087"/>
            <a:ext cx="2516272" cy="1071946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. </a:t>
            </a:r>
          </a:p>
        </p:txBody>
      </p:sp>
      <p:sp>
        <p:nvSpPr>
          <p:cNvPr id="74" name="Marcador de contenido 2">
            <a:extLst>
              <a:ext uri="{FF2B5EF4-FFF2-40B4-BE49-F238E27FC236}">
                <a16:creationId xmlns:a16="http://schemas.microsoft.com/office/drawing/2014/main" id="{E014B9DE-E3C2-44BF-9EC0-757CACC94D4F}"/>
              </a:ext>
            </a:extLst>
          </p:cNvPr>
          <p:cNvSpPr txBox="1">
            <a:spLocks/>
          </p:cNvSpPr>
          <p:nvPr/>
        </p:nvSpPr>
        <p:spPr>
          <a:xfrm>
            <a:off x="4804948" y="3042087"/>
            <a:ext cx="2507168" cy="1071946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RADIO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vidad. </a:t>
            </a:r>
          </a:p>
        </p:txBody>
      </p:sp>
      <p:sp>
        <p:nvSpPr>
          <p:cNvPr id="75" name="Marcador de contenido 2">
            <a:extLst>
              <a:ext uri="{FF2B5EF4-FFF2-40B4-BE49-F238E27FC236}">
                <a16:creationId xmlns:a16="http://schemas.microsoft.com/office/drawing/2014/main" id="{29EBDD38-CE8F-4582-BCCB-E65D51FEF352}"/>
              </a:ext>
            </a:extLst>
          </p:cNvPr>
          <p:cNvSpPr txBox="1">
            <a:spLocks/>
          </p:cNvSpPr>
          <p:nvPr/>
        </p:nvSpPr>
        <p:spPr>
          <a:xfrm>
            <a:off x="7714860" y="4281635"/>
            <a:ext cx="2507961" cy="1447642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OOH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Sin actiidad. </a:t>
            </a:r>
          </a:p>
        </p:txBody>
      </p:sp>
      <p:sp>
        <p:nvSpPr>
          <p:cNvPr id="76" name="Marcador de contenido 2">
            <a:extLst>
              <a:ext uri="{FF2B5EF4-FFF2-40B4-BE49-F238E27FC236}">
                <a16:creationId xmlns:a16="http://schemas.microsoft.com/office/drawing/2014/main" id="{D5959A5B-6FD9-44E2-AD34-59EABB03BAD5}"/>
              </a:ext>
            </a:extLst>
          </p:cNvPr>
          <p:cNvSpPr txBox="1">
            <a:spLocks/>
          </p:cNvSpPr>
          <p:nvPr/>
        </p:nvSpPr>
        <p:spPr>
          <a:xfrm>
            <a:off x="4807516" y="1345124"/>
            <a:ext cx="2507168" cy="1471315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pPr marL="0" indent="0">
              <a:buNone/>
            </a:pPr>
            <a:endParaRPr lang="es-MX" sz="1200" b="1" dirty="0">
              <a:latin typeface="Abadi" panose="020B0604020104020204" pitchFamily="34" charset="0"/>
            </a:endParaRPr>
          </a:p>
        </p:txBody>
      </p:sp>
      <p:sp>
        <p:nvSpPr>
          <p:cNvPr id="77" name="TextBox 10">
            <a:extLst>
              <a:ext uri="{FF2B5EF4-FFF2-40B4-BE49-F238E27FC236}">
                <a16:creationId xmlns:a16="http://schemas.microsoft.com/office/drawing/2014/main" id="{274F8F66-4E69-4285-89DD-569C46754823}"/>
              </a:ext>
            </a:extLst>
          </p:cNvPr>
          <p:cNvSpPr txBox="1"/>
          <p:nvPr/>
        </p:nvSpPr>
        <p:spPr>
          <a:xfrm>
            <a:off x="5563492" y="954214"/>
            <a:ext cx="106914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R" sz="1400" b="1" dirty="0" err="1">
                <a:latin typeface="Abadi" panose="020B0604020104020204" pitchFamily="34" charset="0"/>
                <a:ea typeface="Merriweather"/>
                <a:cs typeface="Merriweather"/>
              </a:rPr>
              <a:t>Tabcin</a:t>
            </a:r>
            <a:r>
              <a:rPr lang="es-CR" sz="1400" b="1" dirty="0">
                <a:latin typeface="Abadi" panose="020B0604020104020204" pitchFamily="34" charset="0"/>
                <a:ea typeface="Merriweather"/>
                <a:cs typeface="Merriweather"/>
              </a:rPr>
              <a:t> </a:t>
            </a:r>
            <a:r>
              <a:rPr lang="es-CR" sz="1400" b="1" dirty="0" err="1">
                <a:latin typeface="Abadi" panose="020B0604020104020204" pitchFamily="34" charset="0"/>
                <a:ea typeface="Merriweather"/>
                <a:cs typeface="Merriweather"/>
              </a:rPr>
              <a:t>FyC</a:t>
            </a:r>
            <a:r>
              <a:rPr lang="es-CR" sz="1400" b="1" dirty="0">
                <a:latin typeface="Abadi" panose="020B0604020104020204" pitchFamily="34" charset="0"/>
                <a:ea typeface="Merriweather"/>
                <a:cs typeface="Merriweather"/>
              </a:rPr>
              <a:t> </a:t>
            </a:r>
          </a:p>
        </p:txBody>
      </p:sp>
      <p:sp>
        <p:nvSpPr>
          <p:cNvPr id="78" name="Marcador de contenido 2">
            <a:extLst>
              <a:ext uri="{FF2B5EF4-FFF2-40B4-BE49-F238E27FC236}">
                <a16:creationId xmlns:a16="http://schemas.microsoft.com/office/drawing/2014/main" id="{55D8C8E5-6315-4B11-8790-09790CA96B06}"/>
              </a:ext>
            </a:extLst>
          </p:cNvPr>
          <p:cNvSpPr txBox="1">
            <a:spLocks/>
          </p:cNvSpPr>
          <p:nvPr/>
        </p:nvSpPr>
        <p:spPr>
          <a:xfrm>
            <a:off x="7717435" y="1345124"/>
            <a:ext cx="2507957" cy="1471315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Revista Que Viva La Vida en HCH y patrocinio de Capsulas 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Resultados: trps 1436 | 151 Msj | COI = 1.66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endParaRPr lang="es-MX" sz="1200" dirty="0">
              <a:latin typeface="Abadi" panose="020B0604020104020204" pitchFamily="34" charset="0"/>
            </a:endParaRPr>
          </a:p>
        </p:txBody>
      </p:sp>
      <p:sp>
        <p:nvSpPr>
          <p:cNvPr id="79" name="TextBox 10">
            <a:extLst>
              <a:ext uri="{FF2B5EF4-FFF2-40B4-BE49-F238E27FC236}">
                <a16:creationId xmlns:a16="http://schemas.microsoft.com/office/drawing/2014/main" id="{13833C14-FB7B-4B97-B968-B1C6B138E2C8}"/>
              </a:ext>
            </a:extLst>
          </p:cNvPr>
          <p:cNvSpPr txBox="1"/>
          <p:nvPr/>
        </p:nvSpPr>
        <p:spPr>
          <a:xfrm>
            <a:off x="8424516" y="954214"/>
            <a:ext cx="116852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s-CR" sz="1400" b="1" dirty="0" err="1">
                <a:latin typeface="Abadi" panose="020B0604020104020204" pitchFamily="34" charset="0"/>
                <a:ea typeface="Merriweather"/>
                <a:cs typeface="Merriweather"/>
              </a:rPr>
              <a:t>Tabcin</a:t>
            </a:r>
            <a:r>
              <a:rPr lang="es-CR" sz="1400" b="1" dirty="0">
                <a:latin typeface="Abadi" panose="020B0604020104020204" pitchFamily="34" charset="0"/>
                <a:ea typeface="Merriweather"/>
                <a:cs typeface="Merriweather"/>
              </a:rPr>
              <a:t> Niños</a:t>
            </a:r>
          </a:p>
        </p:txBody>
      </p:sp>
      <p:sp>
        <p:nvSpPr>
          <p:cNvPr id="80" name="Marcador de contenido 2">
            <a:extLst>
              <a:ext uri="{FF2B5EF4-FFF2-40B4-BE49-F238E27FC236}">
                <a16:creationId xmlns:a16="http://schemas.microsoft.com/office/drawing/2014/main" id="{69D9BD66-246A-41B3-9527-9B47AF61F6ED}"/>
              </a:ext>
            </a:extLst>
          </p:cNvPr>
          <p:cNvSpPr txBox="1">
            <a:spLocks/>
          </p:cNvSpPr>
          <p:nvPr/>
        </p:nvSpPr>
        <p:spPr>
          <a:xfrm>
            <a:off x="1966608" y="1336816"/>
            <a:ext cx="2507957" cy="1464134"/>
          </a:xfrm>
          <a:prstGeom prst="rect">
            <a:avLst/>
          </a:prstGeom>
          <a:noFill/>
          <a:ln w="12700"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s-MX" sz="1200" b="1" dirty="0">
                <a:latin typeface="Abadi" panose="020B0604020104020204" pitchFamily="34" charset="0"/>
              </a:rPr>
              <a:t>TV ABIERTA: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Patrocinio de El Clima en HCH Matutino.</a:t>
            </a:r>
          </a:p>
          <a:p>
            <a:pPr>
              <a:lnSpc>
                <a:spcPct val="100000"/>
              </a:lnSpc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Resultados: trps 1,433 | 233 Msj | COI = 1.91</a:t>
            </a:r>
          </a:p>
        </p:txBody>
      </p:sp>
      <p:sp>
        <p:nvSpPr>
          <p:cNvPr id="81" name="Marcador de contenido 2">
            <a:extLst>
              <a:ext uri="{FF2B5EF4-FFF2-40B4-BE49-F238E27FC236}">
                <a16:creationId xmlns:a16="http://schemas.microsoft.com/office/drawing/2014/main" id="{C4640BF2-1194-4F37-9A26-5FCA45345626}"/>
              </a:ext>
            </a:extLst>
          </p:cNvPr>
          <p:cNvSpPr txBox="1">
            <a:spLocks/>
          </p:cNvSpPr>
          <p:nvPr/>
        </p:nvSpPr>
        <p:spPr>
          <a:xfrm>
            <a:off x="4800600" y="5942505"/>
            <a:ext cx="2511517" cy="779403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No aplica en HN. </a:t>
            </a:r>
          </a:p>
          <a:p>
            <a:pPr marL="0" indent="0">
              <a:buNone/>
            </a:pPr>
            <a:endParaRPr lang="es-MX" sz="1200" dirty="0">
              <a:latin typeface="Abadi" panose="020B0604020104020204" pitchFamily="34" charset="0"/>
            </a:endParaRPr>
          </a:p>
        </p:txBody>
      </p:sp>
      <p:pic>
        <p:nvPicPr>
          <p:cNvPr id="82" name="Imagen 2">
            <a:extLst>
              <a:ext uri="{FF2B5EF4-FFF2-40B4-BE49-F238E27FC236}">
                <a16:creationId xmlns:a16="http://schemas.microsoft.com/office/drawing/2014/main" id="{88859596-E568-4A8A-AAB7-A7377F7FDFC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408" y="5971987"/>
            <a:ext cx="674242" cy="674242"/>
          </a:xfrm>
          <a:prstGeom prst="rect">
            <a:avLst/>
          </a:prstGeom>
        </p:spPr>
      </p:pic>
      <p:sp>
        <p:nvSpPr>
          <p:cNvPr id="83" name="Marcador de contenido 2">
            <a:extLst>
              <a:ext uri="{FF2B5EF4-FFF2-40B4-BE49-F238E27FC236}">
                <a16:creationId xmlns:a16="http://schemas.microsoft.com/office/drawing/2014/main" id="{ECACCD17-3A10-4924-A6CB-17729ADBDC3A}"/>
              </a:ext>
            </a:extLst>
          </p:cNvPr>
          <p:cNvSpPr txBox="1">
            <a:spLocks/>
          </p:cNvSpPr>
          <p:nvPr/>
        </p:nvSpPr>
        <p:spPr>
          <a:xfrm>
            <a:off x="1958009" y="5942505"/>
            <a:ext cx="2510020" cy="779403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No aplica</a:t>
            </a:r>
          </a:p>
        </p:txBody>
      </p:sp>
      <p:sp>
        <p:nvSpPr>
          <p:cNvPr id="84" name="Marcador de contenido 2">
            <a:extLst>
              <a:ext uri="{FF2B5EF4-FFF2-40B4-BE49-F238E27FC236}">
                <a16:creationId xmlns:a16="http://schemas.microsoft.com/office/drawing/2014/main" id="{A704B52E-2930-4AD0-9DB1-C6523E331A6D}"/>
              </a:ext>
            </a:extLst>
          </p:cNvPr>
          <p:cNvSpPr txBox="1">
            <a:spLocks/>
          </p:cNvSpPr>
          <p:nvPr/>
        </p:nvSpPr>
        <p:spPr>
          <a:xfrm>
            <a:off x="7714860" y="5942505"/>
            <a:ext cx="2516272" cy="751909"/>
          </a:xfrm>
          <a:prstGeom prst="rect">
            <a:avLst/>
          </a:prstGeom>
          <a:noFill/>
          <a:ln>
            <a:solidFill>
              <a:srgbClr val="FFC000"/>
            </a:solidFill>
            <a:prstDash val="solid"/>
          </a:ln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s-MX" sz="1200" b="1" dirty="0">
                <a:latin typeface="Abadi" panose="020B0604020104020204" pitchFamily="34" charset="0"/>
              </a:rPr>
              <a:t>CINES:</a:t>
            </a:r>
          </a:p>
          <a:p>
            <a:pPr>
              <a:buClr>
                <a:srgbClr val="002060"/>
              </a:buClr>
            </a:pPr>
            <a:r>
              <a:rPr lang="es-MX" sz="1200" dirty="0">
                <a:latin typeface="Abadi" panose="020B0604020104020204" pitchFamily="34" charset="0"/>
              </a:rPr>
              <a:t>No aplica en HN. </a:t>
            </a:r>
          </a:p>
        </p:txBody>
      </p:sp>
    </p:spTree>
    <p:extLst>
      <p:ext uri="{BB962C8B-B14F-4D97-AF65-F5344CB8AC3E}">
        <p14:creationId xmlns:p14="http://schemas.microsoft.com/office/powerpoint/2010/main" val="1576267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7A66843B-C54E-4A68-84F5-289CC97225A7}"/>
              </a:ext>
            </a:extLst>
          </p:cNvPr>
          <p:cNvSpPr/>
          <p:nvPr/>
        </p:nvSpPr>
        <p:spPr>
          <a:xfrm>
            <a:off x="8527333" y="4268136"/>
            <a:ext cx="998979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graphicFrame>
        <p:nvGraphicFramePr>
          <p:cNvPr id="42" name="Marcador de contenido 10">
            <a:extLst>
              <a:ext uri="{FF2B5EF4-FFF2-40B4-BE49-F238E27FC236}">
                <a16:creationId xmlns:a16="http://schemas.microsoft.com/office/drawing/2014/main" id="{D56C3FD9-F7AF-421C-BBFF-8C2B0C4F68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48048504"/>
              </p:ext>
            </p:extLst>
          </p:nvPr>
        </p:nvGraphicFramePr>
        <p:xfrm>
          <a:off x="5871868" y="4172806"/>
          <a:ext cx="6319340" cy="2572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4" name="Rectangle: Rounded Corners 33">
            <a:extLst>
              <a:ext uri="{FF2B5EF4-FFF2-40B4-BE49-F238E27FC236}">
                <a16:creationId xmlns:a16="http://schemas.microsoft.com/office/drawing/2014/main" id="{223390A8-F290-43A7-9F96-E609942B5670}"/>
              </a:ext>
            </a:extLst>
          </p:cNvPr>
          <p:cNvSpPr/>
          <p:nvPr/>
        </p:nvSpPr>
        <p:spPr>
          <a:xfrm>
            <a:off x="2466999" y="4260466"/>
            <a:ext cx="908163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ED3A9D05-F844-431B-BCAC-44C0143702CC}"/>
              </a:ext>
            </a:extLst>
          </p:cNvPr>
          <p:cNvSpPr/>
          <p:nvPr/>
        </p:nvSpPr>
        <p:spPr>
          <a:xfrm>
            <a:off x="8449036" y="827087"/>
            <a:ext cx="1208765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040C8B7-2A6E-412B-9010-BE3A5BB222EA}"/>
              </a:ext>
            </a:extLst>
          </p:cNvPr>
          <p:cNvSpPr/>
          <p:nvPr/>
        </p:nvSpPr>
        <p:spPr>
          <a:xfrm>
            <a:off x="1948189" y="1056644"/>
            <a:ext cx="2850204" cy="205370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15CBFE-7EEE-4A5B-9C4C-B5BD67BDF7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6526" y="-8159"/>
            <a:ext cx="6615388" cy="864000"/>
          </a:xfrm>
        </p:spPr>
        <p:txBody>
          <a:bodyPr>
            <a:normAutofit/>
          </a:bodyPr>
          <a:lstStyle/>
          <a:p>
            <a:r>
              <a:rPr lang="de-CH" sz="2800" dirty="0">
                <a:latin typeface="Abadi" panose="020B0604020104020204" pitchFamily="34" charset="0"/>
              </a:rPr>
              <a:t>Category: ANTICARDÍACOS </a:t>
            </a:r>
            <a:endParaRPr lang="de-CH" sz="1400" dirty="0">
              <a:latin typeface="Abadi" panose="020B0604020104020204" pitchFamily="34" charset="0"/>
            </a:endParaRPr>
          </a:p>
        </p:txBody>
      </p:sp>
      <p:sp>
        <p:nvSpPr>
          <p:cNvPr id="388" name="Right Triangle 387">
            <a:extLst>
              <a:ext uri="{FF2B5EF4-FFF2-40B4-BE49-F238E27FC236}">
                <a16:creationId xmlns:a16="http://schemas.microsoft.com/office/drawing/2014/main" id="{2C9DE59B-2936-487C-AC38-841ECA250F86}"/>
              </a:ext>
            </a:extLst>
          </p:cNvPr>
          <p:cNvSpPr/>
          <p:nvPr/>
        </p:nvSpPr>
        <p:spPr bwMode="gray">
          <a:xfrm rot="10800000">
            <a:off x="11156157" y="-1324"/>
            <a:ext cx="1035050" cy="1035050"/>
          </a:xfrm>
          <a:prstGeom prst="rtTriangle">
            <a:avLst/>
          </a:prstGeom>
          <a:solidFill>
            <a:srgbClr val="FF006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E2CE256-5A78-4973-8736-0D447FA15746}"/>
              </a:ext>
            </a:extLst>
          </p:cNvPr>
          <p:cNvCxnSpPr>
            <a:cxnSpLocks/>
          </p:cNvCxnSpPr>
          <p:nvPr/>
        </p:nvCxnSpPr>
        <p:spPr>
          <a:xfrm>
            <a:off x="5871868" y="-56288"/>
            <a:ext cx="0" cy="6982755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4BBAC843-0153-49FD-98F1-7879DC5BE152}"/>
              </a:ext>
            </a:extLst>
          </p:cNvPr>
          <p:cNvCxnSpPr>
            <a:cxnSpLocks/>
          </p:cNvCxnSpPr>
          <p:nvPr/>
        </p:nvCxnSpPr>
        <p:spPr>
          <a:xfrm flipH="1">
            <a:off x="-29107" y="4154266"/>
            <a:ext cx="12221107" cy="10448"/>
          </a:xfrm>
          <a:prstGeom prst="line">
            <a:avLst/>
          </a:prstGeom>
          <a:ln>
            <a:prstDash val="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21" name="Gráfico 16">
            <a:extLst>
              <a:ext uri="{FF2B5EF4-FFF2-40B4-BE49-F238E27FC236}">
                <a16:creationId xmlns:a16="http://schemas.microsoft.com/office/drawing/2014/main" id="{9614D2A4-6A3E-4675-BF63-453B74AC72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6223330"/>
              </p:ext>
            </p:extLst>
          </p:nvPr>
        </p:nvGraphicFramePr>
        <p:xfrm>
          <a:off x="5943595" y="739677"/>
          <a:ext cx="6246693" cy="34145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A68A1F49-03A0-40BB-B4C3-C4CB8AC72F5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53261278"/>
              </p:ext>
            </p:extLst>
          </p:nvPr>
        </p:nvGraphicFramePr>
        <p:xfrm>
          <a:off x="800551" y="1049913"/>
          <a:ext cx="4902055" cy="20378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9" name="Object 18">
            <a:extLst>
              <a:ext uri="{FF2B5EF4-FFF2-40B4-BE49-F238E27FC236}">
                <a16:creationId xmlns:a16="http://schemas.microsoft.com/office/drawing/2014/main" id="{785628DB-99DF-4C03-B512-C43CDD204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44698313"/>
              </p:ext>
            </p:extLst>
          </p:nvPr>
        </p:nvGraphicFramePr>
        <p:xfrm>
          <a:off x="2327275" y="2816225"/>
          <a:ext cx="3548063" cy="1346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1" name="Hoja de cálculo" r:id="rId8" imgW="3822700" imgH="1346200" progId="Excel.Sheet.12">
                  <p:embed/>
                </p:oleObj>
              </mc:Choice>
              <mc:Fallback>
                <p:oleObj name="Hoja de cálculo" r:id="rId8" imgW="3822700" imgH="1346200" progId="Excel.Sheet.12">
                  <p:embed/>
                  <p:pic>
                    <p:nvPicPr>
                      <p:cNvPr id="19" name="Object 18">
                        <a:extLst>
                          <a:ext uri="{FF2B5EF4-FFF2-40B4-BE49-F238E27FC236}">
                            <a16:creationId xmlns:a16="http://schemas.microsoft.com/office/drawing/2014/main" id="{785628DB-99DF-4C03-B512-C43CDD2048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327275" y="2816225"/>
                        <a:ext cx="3548063" cy="13462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748B412C-65AF-401C-A123-954C9807BA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53912318"/>
              </p:ext>
            </p:extLst>
          </p:nvPr>
        </p:nvGraphicFramePr>
        <p:xfrm>
          <a:off x="-29107" y="4172807"/>
          <a:ext cx="5900972" cy="2685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37" name="Object 36">
            <a:extLst>
              <a:ext uri="{FF2B5EF4-FFF2-40B4-BE49-F238E27FC236}">
                <a16:creationId xmlns:a16="http://schemas.microsoft.com/office/drawing/2014/main" id="{E3329616-4A16-4E9F-BC32-F9AE170E7E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3687473"/>
              </p:ext>
            </p:extLst>
          </p:nvPr>
        </p:nvGraphicFramePr>
        <p:xfrm>
          <a:off x="6407150" y="1119188"/>
          <a:ext cx="5783263" cy="215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2" name="Hoja de cálculo" r:id="rId11" imgW="4432300" imgH="215900" progId="Excel.Sheet.12">
                  <p:embed/>
                </p:oleObj>
              </mc:Choice>
              <mc:Fallback>
                <p:oleObj name="Hoja de cálculo" r:id="rId11" imgW="4432300" imgH="215900" progId="Excel.Sheet.12">
                  <p:embed/>
                  <p:pic>
                    <p:nvPicPr>
                      <p:cNvPr id="37" name="Object 36">
                        <a:extLst>
                          <a:ext uri="{FF2B5EF4-FFF2-40B4-BE49-F238E27FC236}">
                            <a16:creationId xmlns:a16="http://schemas.microsoft.com/office/drawing/2014/main" id="{E3329616-4A16-4E9F-BC32-F9AE170E7E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6407150" y="1119188"/>
                        <a:ext cx="5783263" cy="2159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le 1">
            <a:extLst>
              <a:ext uri="{FF2B5EF4-FFF2-40B4-BE49-F238E27FC236}">
                <a16:creationId xmlns:a16="http://schemas.microsoft.com/office/drawing/2014/main" id="{55443EAC-93D8-4F92-BFE3-F3628EEB10E7}"/>
              </a:ext>
            </a:extLst>
          </p:cNvPr>
          <p:cNvSpPr txBox="1">
            <a:spLocks/>
          </p:cNvSpPr>
          <p:nvPr/>
        </p:nvSpPr>
        <p:spPr>
          <a:xfrm>
            <a:off x="9226114" y="112481"/>
            <a:ext cx="2304197" cy="6271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Target: H/M 40-60</a:t>
            </a:r>
          </a:p>
          <a:p>
            <a:pPr>
              <a:lnSpc>
                <a:spcPct val="110000"/>
              </a:lnSpc>
            </a:pPr>
            <a:r>
              <a:rPr lang="de-CH" sz="2000" dirty="0">
                <a:latin typeface="Abadi" panose="020B0604020104020204" pitchFamily="34" charset="0"/>
              </a:rPr>
              <a:t>Mayo 2024 </a:t>
            </a:r>
          </a:p>
        </p:txBody>
      </p:sp>
      <p:pic>
        <p:nvPicPr>
          <p:cNvPr id="45" name="Picture 2" descr="Vector de iconos de personas. Icono: vector de stock (libre de regalías)  1707822124 | Shutterstock">
            <a:extLst>
              <a:ext uri="{FF2B5EF4-FFF2-40B4-BE49-F238E27FC236}">
                <a16:creationId xmlns:a16="http://schemas.microsoft.com/office/drawing/2014/main" id="{8CE7A3EC-D360-4CEC-8CF0-14ED42C099E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46" t="28173" r="17518" b="35066"/>
          <a:stretch/>
        </p:blipFill>
        <p:spPr bwMode="auto">
          <a:xfrm>
            <a:off x="8928182" y="165583"/>
            <a:ext cx="367227" cy="213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" descr="Ilustración de Icono De Vector De Calendario Ilustración Negra Aislada Para  Diseño Gráfico Y Web y más Vectores Libres de Derechos de Acontecimiento -  iStock">
            <a:extLst>
              <a:ext uri="{FF2B5EF4-FFF2-40B4-BE49-F238E27FC236}">
                <a16:creationId xmlns:a16="http://schemas.microsoft.com/office/drawing/2014/main" id="{59436C7B-7335-495D-AC94-9D0DC397E24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58" t="21511" r="20420" b="19489"/>
          <a:stretch/>
        </p:blipFill>
        <p:spPr bwMode="auto">
          <a:xfrm>
            <a:off x="9013428" y="426080"/>
            <a:ext cx="250559" cy="2610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Tabla 3">
            <a:extLst>
              <a:ext uri="{FF2B5EF4-FFF2-40B4-BE49-F238E27FC236}">
                <a16:creationId xmlns:a16="http://schemas.microsoft.com/office/drawing/2014/main" id="{449A8407-ECBA-1742-BA26-66D819954C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919619"/>
              </p:ext>
            </p:extLst>
          </p:nvPr>
        </p:nvGraphicFramePr>
        <p:xfrm>
          <a:off x="281017" y="981446"/>
          <a:ext cx="632459" cy="202562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632459">
                  <a:extLst>
                    <a:ext uri="{9D8B030D-6E8A-4147-A177-3AD203B41FA5}">
                      <a16:colId xmlns:a16="http://schemas.microsoft.com/office/drawing/2014/main" val="1185865620"/>
                    </a:ext>
                  </a:extLst>
                </a:gridCol>
              </a:tblGrid>
              <a:tr h="219957">
                <a:tc>
                  <a:txBody>
                    <a:bodyPr/>
                    <a:lstStyle/>
                    <a:p>
                      <a:pPr algn="ctr"/>
                      <a:r>
                        <a:rPr lang="es-HN" sz="900" dirty="0">
                          <a:latin typeface="Abadi MT Condensed Light" panose="020B0306030101010103" pitchFamily="34" charset="77"/>
                        </a:rPr>
                        <a:t>SOI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55884866"/>
                  </a:ext>
                </a:extLst>
              </a:tr>
              <a:tr h="421504">
                <a:tc>
                  <a:txBody>
                    <a:bodyPr/>
                    <a:lstStyle/>
                    <a:p>
                      <a:pPr algn="ctr"/>
                      <a:r>
                        <a:rPr lang="es-HN" sz="900" dirty="0">
                          <a:latin typeface="Abadi MT Condensed Light" panose="020B0306030101010103" pitchFamily="34" charset="77"/>
                        </a:rPr>
                        <a:t>5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89576745"/>
                  </a:ext>
                </a:extLst>
              </a:tr>
              <a:tr h="421504">
                <a:tc>
                  <a:txBody>
                    <a:bodyPr/>
                    <a:lstStyle/>
                    <a:p>
                      <a:pPr algn="ctr"/>
                      <a:r>
                        <a:rPr lang="es-HN" sz="900" dirty="0">
                          <a:latin typeface="Abadi MT Condensed Light" panose="020B0306030101010103" pitchFamily="34" charset="77"/>
                        </a:rPr>
                        <a:t>3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35952729"/>
                  </a:ext>
                </a:extLst>
              </a:tr>
              <a:tr h="421504">
                <a:tc>
                  <a:txBody>
                    <a:bodyPr/>
                    <a:lstStyle/>
                    <a:p>
                      <a:pPr algn="ctr"/>
                      <a:r>
                        <a:rPr lang="es-HN" sz="900" dirty="0">
                          <a:latin typeface="Abadi MT Condensed Light" panose="020B0306030101010103" pitchFamily="34" charset="77"/>
                        </a:rPr>
                        <a:t>1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70273724"/>
                  </a:ext>
                </a:extLst>
              </a:tr>
              <a:tr h="532508">
                <a:tc>
                  <a:txBody>
                    <a:bodyPr/>
                    <a:lstStyle/>
                    <a:p>
                      <a:pPr algn="ctr"/>
                      <a:r>
                        <a:rPr lang="es-HN" sz="900" dirty="0">
                          <a:latin typeface="Abadi MT Condensed Light" panose="020B0306030101010103" pitchFamily="34" charset="77"/>
                        </a:rPr>
                        <a:t>1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623725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71132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6950BFC3-D8DA-4A85-94F7-54DA5524770B}">
      <p188:commentRel xmlns:p188="http://schemas.microsoft.com/office/powerpoint/2018/8/main" r:id="rId4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ec9967a-010b-409c-b260-7aafe41392b5"/>
  <p:tag name="MIO_EKGUID" val="8c040964-a8e4-4a54-b7b4-300727e8bb36"/>
  <p:tag name="MIO_UPDATE" val="True"/>
  <p:tag name="MIO_VERSION" val="05.09.2018 15:15:14"/>
  <p:tag name="MIO_DBID" val="8E7267AE-489F-4B02-8040-8A98451BF141"/>
  <p:tag name="MIO_LASTDOWNLOADED" val="06.09.2018 12:04:28"/>
  <p:tag name="MIO_OBJECTNAME" val="Title Slide (3)"/>
  <p:tag name="MIO_LASTEDITORNAME" val="empower enterpri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11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16"/>
  <p:tag name="MIO_HDS" val="True"/>
  <p:tag name="MIO_SKIPVERSION" val="01.01.0001 00:00:00"/>
  <p:tag name="MIO_EKGUID" val="106612b7-7cda-4c66-a943-3c88b56a92d2"/>
  <p:tag name="MIO_UPDATE" val="True"/>
  <p:tag name="MIO_VERSION" val="05.09.2018 15:12:17"/>
  <p:tag name="MIO_DBID" val="8E7267AE-489F-4B02-8040-8A98451BF141"/>
  <p:tag name="MIO_LASTDOWNLOADED" val="06.09.2018 11:39:48"/>
  <p:tag name="MIO_OBJECTNAME" val="Master Bayer AG 16:9 pre final"/>
  <p:tag name="MIO_CDID" val="cd9a71c7-8ed9-41a1-8303-1a6d1985851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_BAG_PPT-master_16-9">
  <a:themeElements>
    <a:clrScheme name="Bayer 2017">
      <a:dk1>
        <a:srgbClr val="000000"/>
      </a:dk1>
      <a:lt1>
        <a:srgbClr val="FFFFFF"/>
      </a:lt1>
      <a:dk2>
        <a:srgbClr val="FF3162"/>
      </a:dk2>
      <a:lt2>
        <a:srgbClr val="624963"/>
      </a:lt2>
      <a:accent1>
        <a:srgbClr val="10384F"/>
      </a:accent1>
      <a:accent2>
        <a:srgbClr val="00BCFF"/>
      </a:accent2>
      <a:accent3>
        <a:srgbClr val="004422"/>
      </a:accent3>
      <a:accent4>
        <a:srgbClr val="89D329"/>
      </a:accent4>
      <a:accent5>
        <a:srgbClr val="443247"/>
      </a:accent5>
      <a:accent6>
        <a:srgbClr val="D30F4B"/>
      </a:accent6>
      <a:hlink>
        <a:srgbClr val="00BCFF"/>
      </a:hlink>
      <a:folHlink>
        <a:srgbClr val="89D329"/>
      </a:folHlink>
    </a:clrScheme>
    <a:fontScheme name="Arial">
      <a:majorFont>
        <a:latin typeface="Arial"/>
        <a:ea typeface="Arial Unicode MS"/>
        <a:cs typeface="Arial"/>
      </a:majorFont>
      <a:minorFont>
        <a:latin typeface="Arial"/>
        <a:ea typeface="Arial Unicode MS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ln>
          <a:noFill/>
        </a:ln>
      </a:spPr>
      <a:bodyPr rtlCol="0" anchor="ctr"/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FFFFFF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>
        <a:no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0"/>
          </a:spcAft>
          <a:defRPr sz="1800" b="0" i="0" u="none" baseline="0" dirty="0" smtClean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Raspberry">
      <a:srgbClr val="D30F4B"/>
    </a:custClr>
    <a:custClr name="Fuchsia">
      <a:srgbClr val="FF3162"/>
    </a:custClr>
    <a:custClr name="DarkPurple">
      <a:srgbClr val="443247"/>
    </a:custClr>
    <a:custClr name="MidPurple">
      <a:srgbClr val="624963"/>
    </a:custClr>
    <a:custClr name="DarkBlue">
      <a:srgbClr val="10384F"/>
    </a:custClr>
    <a:custClr name="MidBlue">
      <a:srgbClr val="00617F"/>
    </a:custClr>
    <a:custClr name="Blue">
      <a:srgbClr val="0091DF"/>
    </a:custClr>
    <a:custClr name="BrightBlue">
      <a:srgbClr val="00BCFF"/>
    </a:custClr>
    <a:custClr name="DarkGreen">
      <a:srgbClr val="004422"/>
    </a:custClr>
    <a:custClr name="MidGreen">
      <a:srgbClr val="2B6636"/>
    </a:custClr>
    <a:custClr name="Green">
      <a:srgbClr val="66B512"/>
    </a:custClr>
    <a:custClr name="BrightGreen">
      <a:srgbClr val="89D329"/>
    </a:custClr>
    <a:custClr name="TrafficLightRed">
      <a:srgbClr val="CC0000"/>
    </a:custClr>
    <a:custClr name="TrafficLightYellow">
      <a:srgbClr val="FFCC00"/>
    </a:custClr>
    <a:custClr name="TrafficLightGreen">
      <a:srgbClr val="66B512"/>
    </a:custClr>
  </a:custClrLst>
  <a:extLst>
    <a:ext uri="{05A4C25C-085E-4340-85A3-A5531E510DB2}">
      <thm15:themeFamily xmlns:thm15="http://schemas.microsoft.com/office/thememl/2012/main" name="3D_characters_Chart-Pool_16-9_2018-06-18.pptx" id="{67669CA9-6D51-4369-8121-DB1A6300924D}" vid="{B88B47BF-CA50-49CA-8599-4D0FDA15FA6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035</TotalTime>
  <Words>3009</Words>
  <Application>Microsoft Macintosh PowerPoint</Application>
  <PresentationFormat>Panorámica</PresentationFormat>
  <Paragraphs>766</Paragraphs>
  <Slides>25</Slides>
  <Notes>25</Notes>
  <HiddenSlides>0</HiddenSlides>
  <MMClips>24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3</vt:i4>
      </vt:variant>
      <vt:variant>
        <vt:lpstr>Títulos de diapositiva</vt:lpstr>
      </vt:variant>
      <vt:variant>
        <vt:i4>25</vt:i4>
      </vt:variant>
    </vt:vector>
  </HeadingPairs>
  <TitlesOfParts>
    <vt:vector size="37" baseType="lpstr">
      <vt:lpstr>Abadi</vt:lpstr>
      <vt:lpstr>Abadi MT Condensed Extra Bold</vt:lpstr>
      <vt:lpstr>Abadi MT Condensed Light</vt:lpstr>
      <vt:lpstr>Arial</vt:lpstr>
      <vt:lpstr>Calibri</vt:lpstr>
      <vt:lpstr>Calibri Light</vt:lpstr>
      <vt:lpstr>Söhne</vt:lpstr>
      <vt:lpstr>Office Theme</vt:lpstr>
      <vt:lpstr>PR_BAG_PPT-master_16-9</vt:lpstr>
      <vt:lpstr>think-cell Slide</vt:lpstr>
      <vt:lpstr>Hoja de cálculo de Microsoft Excel</vt:lpstr>
      <vt:lpstr>Hoja de cálculo</vt:lpstr>
      <vt:lpstr>Media Competitive Country: Honduras  Mayo,  2024</vt:lpstr>
      <vt:lpstr>Summary Bayer Categories</vt:lpstr>
      <vt:lpstr>Category: ANALGÉSICOS </vt:lpstr>
      <vt:lpstr>Category: ANALGÉSICOS</vt:lpstr>
      <vt:lpstr>Category: ANALGÉSICOS </vt:lpstr>
      <vt:lpstr>Category: ANTIGRIPALES</vt:lpstr>
      <vt:lpstr>Category: ANTIGRIPALES </vt:lpstr>
      <vt:lpstr>Category: ANTIGRIPALES </vt:lpstr>
      <vt:lpstr>Category: ANTICARDÍACOS </vt:lpstr>
      <vt:lpstr>Category: ANTICARDÍACOS </vt:lpstr>
      <vt:lpstr>Category: ANTICARDÍACOS</vt:lpstr>
      <vt:lpstr>Category: ANTIÁCIDOS</vt:lpstr>
      <vt:lpstr>Category: ANTIÁCIDOS</vt:lpstr>
      <vt:lpstr>Category: ANTIÁCIDOS</vt:lpstr>
      <vt:lpstr>Category: ANTIDIARRÉICOS </vt:lpstr>
      <vt:lpstr>Category: ANTIDIARRÉICOS</vt:lpstr>
      <vt:lpstr>Category: ANTIDIARRÉICOS</vt:lpstr>
      <vt:lpstr>Category: ANTIMICÓTICOS V</vt:lpstr>
      <vt:lpstr>Category: ANTIMICÓTICOS V</vt:lpstr>
      <vt:lpstr>Category: ANTIMICÓTICOS</vt:lpstr>
      <vt:lpstr>Category: DERMATOLOGICOS</vt:lpstr>
      <vt:lpstr>Category: DERMATOLOGICOS</vt:lpstr>
      <vt:lpstr>Category: VITAMINAS</vt:lpstr>
      <vt:lpstr>Category: VITAMINAS</vt:lpstr>
      <vt:lpstr>Thank you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dia Competitive Country Month 2022</dc:title>
  <dc:creator>Jesus Vallejo</dc:creator>
  <cp:lastModifiedBy>Microsoft Office User</cp:lastModifiedBy>
  <cp:revision>518</cp:revision>
  <cp:lastPrinted>2024-07-05T01:30:34Z</cp:lastPrinted>
  <dcterms:created xsi:type="dcterms:W3CDTF">2022-10-31T21:43:12Z</dcterms:created>
  <dcterms:modified xsi:type="dcterms:W3CDTF">2024-07-27T00:54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76c141-ac86-40e5-abf2-c6f60e474cee_Enabled">
    <vt:lpwstr>true</vt:lpwstr>
  </property>
  <property fmtid="{D5CDD505-2E9C-101B-9397-08002B2CF9AE}" pid="3" name="MSIP_Label_2c76c141-ac86-40e5-abf2-c6f60e474cee_SetDate">
    <vt:lpwstr>2022-11-01T16:05:39Z</vt:lpwstr>
  </property>
  <property fmtid="{D5CDD505-2E9C-101B-9397-08002B2CF9AE}" pid="4" name="MSIP_Label_2c76c141-ac86-40e5-abf2-c6f60e474cee_Method">
    <vt:lpwstr>Standard</vt:lpwstr>
  </property>
  <property fmtid="{D5CDD505-2E9C-101B-9397-08002B2CF9AE}" pid="5" name="MSIP_Label_2c76c141-ac86-40e5-abf2-c6f60e474cee_Name">
    <vt:lpwstr>2c76c141-ac86-40e5-abf2-c6f60e474cee</vt:lpwstr>
  </property>
  <property fmtid="{D5CDD505-2E9C-101B-9397-08002B2CF9AE}" pid="6" name="MSIP_Label_2c76c141-ac86-40e5-abf2-c6f60e474cee_SiteId">
    <vt:lpwstr>fcb2b37b-5da0-466b-9b83-0014b67a7c78</vt:lpwstr>
  </property>
  <property fmtid="{D5CDD505-2E9C-101B-9397-08002B2CF9AE}" pid="7" name="MSIP_Label_2c76c141-ac86-40e5-abf2-c6f60e474cee_ActionId">
    <vt:lpwstr>9d3db719-9d36-4cba-aee5-91c7c6c26ee4</vt:lpwstr>
  </property>
  <property fmtid="{D5CDD505-2E9C-101B-9397-08002B2CF9AE}" pid="8" name="MSIP_Label_2c76c141-ac86-40e5-abf2-c6f60e474cee_ContentBits">
    <vt:lpwstr>2</vt:lpwstr>
  </property>
</Properties>
</file>